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8"/>
  </p:notesMasterIdLst>
  <p:sldIdLst>
    <p:sldId id="283" r:id="rId2"/>
    <p:sldId id="400" r:id="rId3"/>
    <p:sldId id="413" r:id="rId4"/>
    <p:sldId id="392" r:id="rId5"/>
    <p:sldId id="431" r:id="rId6"/>
    <p:sldId id="418" r:id="rId7"/>
    <p:sldId id="429" r:id="rId8"/>
    <p:sldId id="430" r:id="rId9"/>
    <p:sldId id="425" r:id="rId10"/>
    <p:sldId id="426" r:id="rId11"/>
    <p:sldId id="393" r:id="rId12"/>
    <p:sldId id="422" r:id="rId13"/>
    <p:sldId id="406" r:id="rId14"/>
    <p:sldId id="409" r:id="rId15"/>
    <p:sldId id="410" r:id="rId16"/>
    <p:sldId id="402" r:id="rId17"/>
    <p:sldId id="411" r:id="rId18"/>
    <p:sldId id="394" r:id="rId19"/>
    <p:sldId id="380" r:id="rId20"/>
    <p:sldId id="414" r:id="rId21"/>
    <p:sldId id="415" r:id="rId22"/>
    <p:sldId id="416" r:id="rId23"/>
    <p:sldId id="424" r:id="rId24"/>
    <p:sldId id="412" r:id="rId25"/>
    <p:sldId id="417" r:id="rId26"/>
    <p:sldId id="403" r:id="rId27"/>
    <p:sldId id="420" r:id="rId28"/>
    <p:sldId id="404" r:id="rId29"/>
    <p:sldId id="423" r:id="rId30"/>
    <p:sldId id="405" r:id="rId31"/>
    <p:sldId id="421" r:id="rId32"/>
    <p:sldId id="387" r:id="rId33"/>
    <p:sldId id="389" r:id="rId34"/>
    <p:sldId id="398" r:id="rId35"/>
    <p:sldId id="397" r:id="rId36"/>
    <p:sldId id="358" r:id="rId37"/>
  </p:sldIdLst>
  <p:sldSz cx="9144000" cy="6858000" type="screen4x3"/>
  <p:notesSz cx="7104063" cy="10234613"/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맑은 고딕" panose="020B0503020000020004" pitchFamily="50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맑은 고딕" panose="020B0503020000020004" pitchFamily="50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맑은 고딕" panose="020B0503020000020004" pitchFamily="50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맑은 고딕" panose="020B0503020000020004" pitchFamily="50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맑은 고딕" panose="020B0503020000020004" pitchFamily="50" charset="-127"/>
        <a:cs typeface="+mn-cs"/>
      </a:defRPr>
    </a:lvl5pPr>
    <a:lvl6pPr marL="2286000" algn="l" defTabSz="914400" rtl="0" eaLnBrk="1" latinLnBrk="1" hangingPunct="1">
      <a:defRPr kern="1200">
        <a:solidFill>
          <a:schemeClr val="tx1"/>
        </a:solidFill>
        <a:latin typeface="Calibri" panose="020F0502020204030204" pitchFamily="34" charset="0"/>
        <a:ea typeface="맑은 고딕" panose="020B0503020000020004" pitchFamily="50" charset="-127"/>
        <a:cs typeface="+mn-cs"/>
      </a:defRPr>
    </a:lvl6pPr>
    <a:lvl7pPr marL="2743200" algn="l" defTabSz="914400" rtl="0" eaLnBrk="1" latinLnBrk="1" hangingPunct="1">
      <a:defRPr kern="1200">
        <a:solidFill>
          <a:schemeClr val="tx1"/>
        </a:solidFill>
        <a:latin typeface="Calibri" panose="020F0502020204030204" pitchFamily="34" charset="0"/>
        <a:ea typeface="맑은 고딕" panose="020B0503020000020004" pitchFamily="50" charset="-127"/>
        <a:cs typeface="+mn-cs"/>
      </a:defRPr>
    </a:lvl7pPr>
    <a:lvl8pPr marL="3200400" algn="l" defTabSz="914400" rtl="0" eaLnBrk="1" latinLnBrk="1" hangingPunct="1">
      <a:defRPr kern="1200">
        <a:solidFill>
          <a:schemeClr val="tx1"/>
        </a:solidFill>
        <a:latin typeface="Calibri" panose="020F0502020204030204" pitchFamily="34" charset="0"/>
        <a:ea typeface="맑은 고딕" panose="020B0503020000020004" pitchFamily="50" charset="-127"/>
        <a:cs typeface="+mn-cs"/>
      </a:defRPr>
    </a:lvl8pPr>
    <a:lvl9pPr marL="3657600" algn="l" defTabSz="914400" rtl="0" eaLnBrk="1" latinLnBrk="1" hangingPunct="1">
      <a:defRPr kern="1200">
        <a:solidFill>
          <a:schemeClr val="tx1"/>
        </a:solidFill>
        <a:latin typeface="Calibri" panose="020F0502020204030204" pitchFamily="34" charset="0"/>
        <a:ea typeface="맑은 고딕" panose="020B0503020000020004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13" userDrawn="1">
          <p15:clr>
            <a:srgbClr val="A4A3A4"/>
          </p15:clr>
        </p15:guide>
        <p15:guide id="2" orient="horz" pos="527">
          <p15:clr>
            <a:srgbClr val="A4A3A4"/>
          </p15:clr>
        </p15:guide>
        <p15:guide id="3" orient="horz" pos="4224">
          <p15:clr>
            <a:srgbClr val="A4A3A4"/>
          </p15:clr>
        </p15:guide>
        <p15:guide id="11" pos="771" userDrawn="1">
          <p15:clr>
            <a:srgbClr val="A4A3A4"/>
          </p15:clr>
        </p15:guide>
        <p15:guide id="12" pos="5647" userDrawn="1">
          <p15:clr>
            <a:srgbClr val="A4A3A4"/>
          </p15:clr>
        </p15:guide>
        <p15:guide id="13" orient="horz" pos="4088" userDrawn="1">
          <p15:clr>
            <a:srgbClr val="A4A3A4"/>
          </p15:clr>
        </p15:guide>
        <p15:guide id="14" pos="3560" userDrawn="1">
          <p15:clr>
            <a:srgbClr val="A4A3A4"/>
          </p15:clr>
        </p15:guide>
        <p15:guide id="15" pos="3470" userDrawn="1">
          <p15:clr>
            <a:srgbClr val="A4A3A4"/>
          </p15:clr>
        </p15:guide>
        <p15:guide id="16" orient="horz" pos="116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ore" initials="" lastIdx="19" clrIdx="0"/>
  <p:cmAuthor id="2" name="34216" initials="" lastIdx="6" clrIdx="1"/>
  <p:cmAuthor id="3" name="2630" initials="" lastIdx="1" clrIdx="2"/>
  <p:cmAuthor id="4" name="알 수 없는 사용자1" initials="알 수 없는 사용자1" lastIdx="6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보통 스타일 4 - 강조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테마 스타일 1 - 강조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41" autoAdjust="0"/>
    <p:restoredTop sz="93830" autoAdjust="0"/>
  </p:normalViewPr>
  <p:slideViewPr>
    <p:cSldViewPr snapToGrid="0" showGuides="1">
      <p:cViewPr varScale="1">
        <p:scale>
          <a:sx n="104" d="100"/>
          <a:sy n="104" d="100"/>
        </p:scale>
        <p:origin x="1854" y="108"/>
      </p:cViewPr>
      <p:guideLst>
        <p:guide pos="113"/>
        <p:guide orient="horz" pos="527"/>
        <p:guide orient="horz" pos="4224"/>
        <p:guide pos="771"/>
        <p:guide pos="5647"/>
        <p:guide orient="horz" pos="4088"/>
        <p:guide pos="3560"/>
        <p:guide pos="3470"/>
        <p:guide orient="horz" pos="1162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3E9BD3-BBF8-47F9-9C1B-0349D236F3D7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D0E7357C-0F89-42A3-ACC2-97DE8F12497B}">
      <dgm:prSet phldrT="[텍스트]" custT="1"/>
      <dgm:spPr>
        <a:solidFill>
          <a:schemeClr val="bg1">
            <a:lumMod val="65000"/>
          </a:schemeClr>
        </a:solidFill>
      </dgm:spPr>
      <dgm:t>
        <a:bodyPr/>
        <a:lstStyle/>
        <a:p>
          <a:pPr rtl="0"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6FD6AAE-BB93-465D-A3ED-F3202652F5DE}" type="parTrans" cxnId="{39801674-90FC-42AB-96E2-29EA19E669DC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CB72FC68-595B-4EA7-BFE7-B5DF638B56D7}" type="sibTrans" cxnId="{39801674-90FC-42AB-96E2-29EA19E669DC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D9100671-4CB5-4820-B7B4-4B271219FE40}">
      <dgm:prSet phldrT="[텍스트]"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FE4C2277-3322-4A9A-A65D-A29A82815C0B}" type="parTrans" cxnId="{2D47FD8C-6379-4E8F-AFF8-1481E2684F09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F23F7E79-4337-4D3C-B7A7-04418D03F494}" type="sibTrans" cxnId="{2D47FD8C-6379-4E8F-AFF8-1481E2684F09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01D388E7-1A65-41B1-B0F3-C1E8B9DFB691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9DD73ED-3BDB-4C52-853A-36FC0EA20AF7}" type="parTrans" cxnId="{5E3804EF-67B2-497D-A58A-2C398015D9D3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1ADB565-FA05-4214-A206-8AD5296249CC}" type="sibTrans" cxnId="{5E3804EF-67B2-497D-A58A-2C398015D9D3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0CBB08E-EF13-4941-91EA-CE35D6A9BC7C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B01CBABA-8942-409E-8096-D3A4E82429D2}" type="parTrans" cxnId="{A009B698-9B16-41F8-9BE8-D3CC7E4534C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7171398-A037-4F85-B3C0-77F965A19C2A}" type="sibTrans" cxnId="{A009B698-9B16-41F8-9BE8-D3CC7E4534CA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40FF39DC-82F8-41CA-B7B9-CC56D9A5B34B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16CFFC99-9FC8-48B6-901B-664BBBB409D2}" type="parTrans" cxnId="{1426E032-F01D-46FE-8674-C89293DC5D1E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4E9D940-0D52-4098-8436-5E2DDB56F059}" type="sibTrans" cxnId="{1426E032-F01D-46FE-8674-C89293DC5D1E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CF8B66D-8174-4BE4-B419-64DC77D94A8C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66BBE48-F423-4813-B0B4-D043CA72629D}" type="parTrans" cxnId="{E0A014D0-84C4-4158-BA98-E14FC7CBC25B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430A65F5-7990-42BD-9FA4-31BBB54D3288}" type="sibTrans" cxnId="{E0A014D0-84C4-4158-BA98-E14FC7CBC25B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A508D72F-BE81-403F-8B18-3E4E4D4A58FB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PM-00001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905BB1F3-EB85-4C67-9B4B-D8FCD959CE3F}" type="parTrans" cxnId="{A3EEB189-9D7A-4A00-92C1-08F3A01D6DE9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AD63F243-4A0E-4266-8204-A29A4E3581F4}" type="sibTrans" cxnId="{A3EEB189-9D7A-4A00-92C1-08F3A01D6DE9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D17AFCDF-A84F-42C7-9568-98E7765CC252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>
            <a:lnSpc>
              <a:spcPct val="100000"/>
            </a:lnSpc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IT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신규 및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R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구축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  <a:sym typeface="아리따-돋움(OTF)-Medium"/>
          </a:endParaRPr>
        </a:p>
        <a:p>
          <a:pPr rtl="0" latinLnBrk="1">
            <a:lnSpc>
              <a:spcPct val="100000"/>
            </a:lnSpc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85C7D48A-DFF2-4084-80F0-1CF3758EFDF3}" type="parTrans" cxnId="{0CC164DB-CFBE-492E-8603-60C20E6D9455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1551EB1F-4DBE-45B7-AC97-98C798222F40}" type="sibTrans" cxnId="{0CC164DB-CFBE-492E-8603-60C20E6D9455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F47B722-8C74-4E42-959D-B200DD9A042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정기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/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긴급배포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 또는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PP 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F93C97F4-BFB9-4CC0-9E4E-8D85C7FC5B0C}" type="parTrans" cxnId="{D662C907-0162-40AD-8466-F1C2AD9E9A76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828F8D8-B92D-4B85-882F-546C78C90802}" type="sibTrans" cxnId="{D662C907-0162-40AD-8466-F1C2AD9E9A76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50CF7D8C-7ED1-4102-8347-F71CA316740F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상시 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1161B3C3-4CC8-4D03-9228-213AB69E18C5}" type="parTrans" cxnId="{1DE6F2BC-D70B-416F-90F7-823766003BF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183EBCF5-23D5-4929-8430-8C3D8B7BD2FC}" type="sibTrans" cxnId="{1DE6F2BC-D70B-416F-90F7-823766003BFA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9B11A98-9D33-4B61-A1C4-0BD1F530C062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2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TQA</a:t>
          </a:r>
          <a:endParaRPr lang="ko-KR" altLang="en-US" sz="12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0619E98-0026-4190-8EED-D055608813CA}" type="parTrans" cxnId="{5C668A27-0896-43EC-9B7C-56D91B3B41F1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E8B20800-3E57-47DA-A3C1-8C60357C4E1C}" type="sibTrans" cxnId="{5C668A27-0896-43EC-9B7C-56D91B3B41F1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0D3039E0-1F69-4B7D-8F76-2E7447C24984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PM-00001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3CC58F7F-98F9-4AED-BB13-A65BDD0646EB}" type="parTrans" cxnId="{5554ECEB-5513-4B23-87A6-C9DF9711686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D7888A5-B01E-43C6-AB9D-1957986F30DA}" type="sibTrans" cxnId="{5554ECEB-5513-4B23-87A6-C9DF9711686A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14A813EF-3B6D-4FC8-B6BA-F6D1ECBB162C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주요 기능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EDD8AAAA-92FE-4498-830A-5A9787ED36D9}" type="parTrans" cxnId="{D987F9DF-14D4-4F65-91BE-320D54F40F40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F9AA9205-A764-46FF-B68A-E53AF1C2D37B}" type="sibTrans" cxnId="{D987F9DF-14D4-4F65-91BE-320D54F40F40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C31E7C3-114E-4286-84A2-A110F22834EB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rchive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F44C7AA9-9F5F-48E8-AEE9-3E681611FE7C}" type="parTrans" cxnId="{3464B9FA-FA54-4B66-959A-7509EEA24490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C356CC7-8B81-417D-A9D2-F9B28D77A969}" type="sibTrans" cxnId="{3464B9FA-FA54-4B66-959A-7509EEA24490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5DC873E-897D-433D-9120-E4E8252E3464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0D74438D-83A6-4DFC-B066-5D2EF9276D91}" type="parTrans" cxnId="{48F16EB4-DADF-4EEC-9088-BA9CB3229E92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CFBC1B8-A400-4DE1-87B4-C8F41478FFA2}" type="sibTrans" cxnId="{48F16EB4-DADF-4EEC-9088-BA9CB3229E92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39184ACB-53D6-445A-AD12-8D8BCB1587C1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9C7F346A-437B-4622-B2CB-A62EDC53B5B1}" type="parTrans" cxnId="{DD691126-6990-4B92-ACD1-0CC7B2D7028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4F6FEC0-E786-497E-BD1C-385894A5C863}" type="sibTrans" cxnId="{DD691126-6990-4B92-ACD1-0CC7B2D7028A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E35C69FE-8821-4D81-88AA-42C379C36929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CDF14963-0031-4A51-A5C3-5FFAF5A82E9F}" type="parTrans" cxnId="{DA5C012F-038F-4CA0-8FB8-C740E7C9DA0F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B53EF74-0FEA-4CCA-8688-8CC2824417A4}" type="sibTrans" cxnId="{DA5C012F-038F-4CA0-8FB8-C740E7C9DA0F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7809B1E-ACB5-4EC5-8764-214E4EEC1B00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>
            <a:lnSpc>
              <a:spcPct val="100000"/>
            </a:lnSpc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미사용 테스트케이스 또는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  <a:p>
          <a:pPr latinLnBrk="1">
            <a:lnSpc>
              <a:spcPct val="100000"/>
            </a:lnSpc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종료된 프로젝트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DB071331-65AC-4F4B-88A1-73AB9E168912}" type="parTrans" cxnId="{2DDDE7FB-8642-443A-8FCC-8E852824C141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E13D3EDC-40B0-463F-B6CC-18DD77830A21}" type="sibTrans" cxnId="{2DDDE7FB-8642-443A-8FCC-8E852824C141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E4C77DF-E3F9-430C-930D-187C7A3C61E9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Mo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478606B2-7B53-4BD8-844D-EEA3A0C26CC1}" type="parTrans" cxnId="{C5A3C4A0-D0A3-426D-B8FC-C16F63D7DF4B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B59C409E-C022-4C02-B7E6-8962D2DF2EFD}" type="sibTrans" cxnId="{C5A3C4A0-D0A3-426D-B8FC-C16F63D7DF4B}">
      <dgm:prSet/>
      <dgm:spPr/>
      <dgm:t>
        <a:bodyPr/>
        <a:lstStyle/>
        <a:p>
          <a:pPr latinLnBrk="1"/>
          <a:endParaRPr lang="ko-KR" altLang="en-US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7130CA5C-7CC0-4772-9E3B-3CDE0018E3EC}">
      <dgm:prSet custT="1"/>
      <dgm:spPr>
        <a:solidFill>
          <a:schemeClr val="bg1">
            <a:lumMod val="65000"/>
          </a:schemeClr>
        </a:solidFill>
        <a:ln>
          <a:noFill/>
        </a:ln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Mo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9615D82F-35E6-4EB3-ADB9-1621753020B7}" type="parTrans" cxnId="{BE7C66BD-C50F-43BC-BA8E-262950B8CC65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50997AB1-BE3B-4AD9-B64D-82A66B945085}" type="sibTrans" cxnId="{BE7C66BD-C50F-43BC-BA8E-262950B8CC65}">
      <dgm:prSet/>
      <dgm:spPr/>
      <dgm:t>
        <a:bodyPr/>
        <a:lstStyle/>
        <a:p>
          <a:pPr latinLnBrk="1"/>
          <a:endParaRPr lang="ko-KR" altLang="en-US"/>
        </a:p>
      </dgm:t>
    </dgm:pt>
    <dgm:pt modelId="{A2BBF0A5-5D1A-41EE-AB12-B4A3B11631DD}">
      <dgm:prSet custT="1"/>
      <dgm:spPr>
        <a:solidFill>
          <a:schemeClr val="bg1">
            <a:lumMod val="65000"/>
          </a:schemeClr>
        </a:solidFill>
        <a:ln>
          <a:noFill/>
        </a:ln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P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CD227199-C43A-4F07-9B9C-31B36AAC1E4A}" type="parTrans" cxnId="{B427C74E-DB8C-4D9E-8FD8-391B5916A5C3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C0B5D947-6E70-48D4-B1DF-47A9A5FDA632}" type="sibTrans" cxnId="{B427C74E-DB8C-4D9E-8FD8-391B5916A5C3}">
      <dgm:prSet/>
      <dgm:spPr/>
      <dgm:t>
        <a:bodyPr/>
        <a:lstStyle/>
        <a:p>
          <a:pPr latinLnBrk="1"/>
          <a:endParaRPr lang="ko-KR" altLang="en-US"/>
        </a:p>
      </dgm:t>
    </dgm:pt>
    <dgm:pt modelId="{73386C65-C094-48CF-87A9-FF1C7BA19C92}">
      <dgm:prSet custT="1"/>
      <dgm:spPr>
        <a:solidFill>
          <a:schemeClr val="bg1">
            <a:lumMod val="65000"/>
          </a:schemeClr>
        </a:solidFill>
        <a:ln>
          <a:noFill/>
        </a:ln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P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A7841DCF-985E-4315-8A88-049275F106D7}" type="parTrans" cxnId="{532B0885-89D5-482C-983B-E3F8850342DB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3EE5A89D-8A2A-4A31-A93C-171303DBEB8D}" type="sibTrans" cxnId="{532B0885-89D5-482C-983B-E3F8850342DB}">
      <dgm:prSet/>
      <dgm:spPr/>
      <dgm:t>
        <a:bodyPr/>
        <a:lstStyle/>
        <a:p>
          <a:pPr latinLnBrk="1"/>
          <a:endParaRPr lang="ko-KR" altLang="en-US"/>
        </a:p>
      </dgm:t>
    </dgm:pt>
    <dgm:pt modelId="{21F71D55-FCFB-467E-8E5A-CAC10206FCAF}">
      <dgm:prSet custT="1"/>
      <dgm:spPr>
        <a:solidFill>
          <a:schemeClr val="bg1">
            <a:lumMod val="65000"/>
          </a:schemeClr>
        </a:solidFill>
        <a:ln>
          <a:noFill/>
        </a:ln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Mo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A1F7BA2B-0B6E-4238-A50C-9B67356B415C}" type="parTrans" cxnId="{2905922E-C3E4-454B-9B73-EF61C3B66562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2E0A1520-B64A-4508-AFCE-AFA7DA358CB6}" type="sibTrans" cxnId="{2905922E-C3E4-454B-9B73-EF61C3B66562}">
      <dgm:prSet/>
      <dgm:spPr/>
      <dgm:t>
        <a:bodyPr/>
        <a:lstStyle/>
        <a:p>
          <a:pPr latinLnBrk="1"/>
          <a:endParaRPr lang="ko-KR" altLang="en-US"/>
        </a:p>
      </dgm:t>
    </dgm:pt>
    <dgm:pt modelId="{C88E93D3-DC8B-49C4-9469-921571AF18CD}">
      <dgm:prSet custT="1"/>
      <dgm:spPr>
        <a:solidFill>
          <a:schemeClr val="bg1">
            <a:lumMod val="65000"/>
          </a:schemeClr>
        </a:solidFill>
        <a:ln>
          <a:noFill/>
        </a:ln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P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ADACB42D-BC5B-43E8-BA83-A55BBB84C39D}" type="parTrans" cxnId="{29647317-D4E7-4FD3-9889-09C23AC2B6BD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5A57B4ED-3684-4A35-935F-CF1EFD3446E1}" type="sibTrans" cxnId="{29647317-D4E7-4FD3-9889-09C23AC2B6BD}">
      <dgm:prSet/>
      <dgm:spPr/>
      <dgm:t>
        <a:bodyPr/>
        <a:lstStyle/>
        <a:p>
          <a:pPr latinLnBrk="1"/>
          <a:endParaRPr lang="ko-KR" altLang="en-US"/>
        </a:p>
      </dgm:t>
    </dgm:pt>
    <dgm:pt modelId="{331E408A-A070-48FD-A9DE-A58A8B93FD28}">
      <dgm:prSet custT="1"/>
      <dgm:spPr>
        <a:solidFill>
          <a:schemeClr val="bg1">
            <a:lumMod val="65000"/>
          </a:schemeClr>
        </a:solidFill>
        <a:ln>
          <a:noFill/>
        </a:ln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결제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05DF8F43-93AE-4EA4-A607-AF8A8BA5D19C}" type="parTrans" cxnId="{CC6C5722-C75E-49D6-B64F-3BBA9017777E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439C0668-DC41-4EEA-9115-4650E1FD0C1D}" type="sibTrans" cxnId="{CC6C5722-C75E-49D6-B64F-3BBA9017777E}">
      <dgm:prSet/>
      <dgm:spPr/>
      <dgm:t>
        <a:bodyPr/>
        <a:lstStyle/>
        <a:p>
          <a:pPr latinLnBrk="1"/>
          <a:endParaRPr lang="ko-KR" altLang="en-US"/>
        </a:p>
      </dgm:t>
    </dgm:pt>
    <dgm:pt modelId="{398E9BCF-C768-462A-9BB8-E58EF94C9791}" type="pres">
      <dgm:prSet presAssocID="{AF3E9BD3-BBF8-47F9-9C1B-0349D236F3D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6FF936B-8170-4A2A-913C-17A225348A7D}" type="pres">
      <dgm:prSet presAssocID="{29B11A98-9D33-4B61-A1C4-0BD1F530C062}" presName="hierRoot1" presStyleCnt="0">
        <dgm:presLayoutVars>
          <dgm:hierBranch val="init"/>
        </dgm:presLayoutVars>
      </dgm:prSet>
      <dgm:spPr/>
    </dgm:pt>
    <dgm:pt modelId="{DA9A4186-AF46-462D-AE70-284078B8564B}" type="pres">
      <dgm:prSet presAssocID="{29B11A98-9D33-4B61-A1C4-0BD1F530C062}" presName="rootComposite1" presStyleCnt="0"/>
      <dgm:spPr/>
    </dgm:pt>
    <dgm:pt modelId="{5197FF8D-FC58-4291-A413-97D4B3FFC8DA}" type="pres">
      <dgm:prSet presAssocID="{29B11A98-9D33-4B61-A1C4-0BD1F530C062}" presName="rootText1" presStyleLbl="node0" presStyleIdx="0" presStyleCnt="1" custScaleX="134066" custScaleY="72339" custLinFactNeighborY="-1621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70D5FEC-0549-4E44-BEF7-3C055DD5E0EB}" type="pres">
      <dgm:prSet presAssocID="{29B11A98-9D33-4B61-A1C4-0BD1F530C062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0BF78FBB-D317-446E-9AD3-DB8B8F00D801}" type="pres">
      <dgm:prSet presAssocID="{29B11A98-9D33-4B61-A1C4-0BD1F530C062}" presName="hierChild2" presStyleCnt="0"/>
      <dgm:spPr/>
    </dgm:pt>
    <dgm:pt modelId="{7BC8F406-0DC9-45A7-B698-8C9D764F5402}" type="pres">
      <dgm:prSet presAssocID="{85C7D48A-DFF2-4084-80F0-1CF3758EFDF3}" presName="Name37" presStyleLbl="parChTrans1D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78526B1E-FFBC-43D5-ACAB-EF8344C937F6}" type="pres">
      <dgm:prSet presAssocID="{D17AFCDF-A84F-42C7-9568-98E7765CC252}" presName="hierRoot2" presStyleCnt="0">
        <dgm:presLayoutVars>
          <dgm:hierBranch val="init"/>
        </dgm:presLayoutVars>
      </dgm:prSet>
      <dgm:spPr/>
    </dgm:pt>
    <dgm:pt modelId="{2A128AAE-DE8B-4E5D-AB0C-7841B607A826}" type="pres">
      <dgm:prSet presAssocID="{D17AFCDF-A84F-42C7-9568-98E7765CC252}" presName="rootComposite" presStyleCnt="0"/>
      <dgm:spPr/>
    </dgm:pt>
    <dgm:pt modelId="{5AEC8923-A78B-4727-9ED7-DE90C1D72093}" type="pres">
      <dgm:prSet presAssocID="{D17AFCDF-A84F-42C7-9568-98E7765CC252}" presName="rootText" presStyleLbl="node2" presStyleIdx="0" presStyleCnt="4" custScaleX="126830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AAD8B09-C8BE-4781-80CB-CD68113FA53E}" type="pres">
      <dgm:prSet presAssocID="{D17AFCDF-A84F-42C7-9568-98E7765CC252}" presName="rootConnector" presStyleLbl="node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C90D97AC-CE11-49EE-AAEC-588FFD175229}" type="pres">
      <dgm:prSet presAssocID="{D17AFCDF-A84F-42C7-9568-98E7765CC252}" presName="hierChild4" presStyleCnt="0"/>
      <dgm:spPr/>
    </dgm:pt>
    <dgm:pt modelId="{32A11FE5-1E99-4AA1-95A6-D2087475E7BF}" type="pres">
      <dgm:prSet presAssocID="{26FD6AAE-BB93-465D-A3ED-F3202652F5DE}" presName="Name37" presStyleLbl="parChTrans1D3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26F1DFD7-6176-45F3-8276-11ADA6DCB685}" type="pres">
      <dgm:prSet presAssocID="{D0E7357C-0F89-42A3-ACC2-97DE8F12497B}" presName="hierRoot2" presStyleCnt="0">
        <dgm:presLayoutVars>
          <dgm:hierBranch val="init"/>
        </dgm:presLayoutVars>
      </dgm:prSet>
      <dgm:spPr/>
    </dgm:pt>
    <dgm:pt modelId="{53453E6A-98E0-4161-91AD-E61F8BA68171}" type="pres">
      <dgm:prSet presAssocID="{D0E7357C-0F89-42A3-ACC2-97DE8F12497B}" presName="rootComposite" presStyleCnt="0"/>
      <dgm:spPr/>
    </dgm:pt>
    <dgm:pt modelId="{06706562-2085-4C5D-9F32-D879389E4EC6}" type="pres">
      <dgm:prSet presAssocID="{D0E7357C-0F89-42A3-ACC2-97DE8F12497B}" presName="rootText" presStyleLbl="node3" presStyleIdx="0" presStyleCnt="4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8054045-13C6-4793-90B2-93AE757394FE}" type="pres">
      <dgm:prSet presAssocID="{D0E7357C-0F89-42A3-ACC2-97DE8F12497B}" presName="rootConnector" presStyleLbl="node3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971B6693-7855-404E-BAE7-F8CD561D6D63}" type="pres">
      <dgm:prSet presAssocID="{D0E7357C-0F89-42A3-ACC2-97DE8F12497B}" presName="hierChild4" presStyleCnt="0"/>
      <dgm:spPr/>
    </dgm:pt>
    <dgm:pt modelId="{698508D6-C93E-4E49-A7B9-B4DA6FBDF86C}" type="pres">
      <dgm:prSet presAssocID="{FE4C2277-3322-4A9A-A65D-A29A82815C0B}" presName="Name37" presStyleLbl="parChTrans1D4" presStyleIdx="0" presStyleCnt="16"/>
      <dgm:spPr/>
      <dgm:t>
        <a:bodyPr/>
        <a:lstStyle/>
        <a:p>
          <a:pPr latinLnBrk="1"/>
          <a:endParaRPr lang="ko-KR" altLang="en-US"/>
        </a:p>
      </dgm:t>
    </dgm:pt>
    <dgm:pt modelId="{B15BDACE-8935-4836-A28A-52D1BEBC4661}" type="pres">
      <dgm:prSet presAssocID="{D9100671-4CB5-4820-B7B4-4B271219FE40}" presName="hierRoot2" presStyleCnt="0">
        <dgm:presLayoutVars>
          <dgm:hierBranch val="init"/>
        </dgm:presLayoutVars>
      </dgm:prSet>
      <dgm:spPr/>
    </dgm:pt>
    <dgm:pt modelId="{0936F836-F7D1-4462-A72D-0A876A9DCC62}" type="pres">
      <dgm:prSet presAssocID="{D9100671-4CB5-4820-B7B4-4B271219FE40}" presName="rootComposite" presStyleCnt="0"/>
      <dgm:spPr/>
    </dgm:pt>
    <dgm:pt modelId="{366FD547-57D6-420F-8969-85C85847F670}" type="pres">
      <dgm:prSet presAssocID="{D9100671-4CB5-4820-B7B4-4B271219FE40}" presName="rootText" presStyleLbl="node4" presStyleIdx="0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B94A250-EE4C-4630-9677-2500B1056E16}" type="pres">
      <dgm:prSet presAssocID="{D9100671-4CB5-4820-B7B4-4B271219FE40}" presName="rootConnector" presStyleLbl="node4" presStyleIdx="0" presStyleCnt="16"/>
      <dgm:spPr/>
      <dgm:t>
        <a:bodyPr/>
        <a:lstStyle/>
        <a:p>
          <a:pPr latinLnBrk="1"/>
          <a:endParaRPr lang="ko-KR" altLang="en-US"/>
        </a:p>
      </dgm:t>
    </dgm:pt>
    <dgm:pt modelId="{BC0E8686-C84C-4FAD-A7B0-739E912D23F8}" type="pres">
      <dgm:prSet presAssocID="{D9100671-4CB5-4820-B7B4-4B271219FE40}" presName="hierChild4" presStyleCnt="0"/>
      <dgm:spPr/>
    </dgm:pt>
    <dgm:pt modelId="{2D029B3C-3925-4BAB-B7CE-DDBF143FAE99}" type="pres">
      <dgm:prSet presAssocID="{905BB1F3-EB85-4C67-9B4B-D8FCD959CE3F}" presName="Name37" presStyleLbl="parChTrans1D4" presStyleIdx="1" presStyleCnt="16"/>
      <dgm:spPr/>
      <dgm:t>
        <a:bodyPr/>
        <a:lstStyle/>
        <a:p>
          <a:pPr latinLnBrk="1"/>
          <a:endParaRPr lang="ko-KR" altLang="en-US"/>
        </a:p>
      </dgm:t>
    </dgm:pt>
    <dgm:pt modelId="{1D7DBBC8-7104-4AE1-8227-AE532A445ECF}" type="pres">
      <dgm:prSet presAssocID="{A508D72F-BE81-403F-8B18-3E4E4D4A58FB}" presName="hierRoot2" presStyleCnt="0">
        <dgm:presLayoutVars>
          <dgm:hierBranch val="init"/>
        </dgm:presLayoutVars>
      </dgm:prSet>
      <dgm:spPr/>
    </dgm:pt>
    <dgm:pt modelId="{21DA3123-FEB3-4918-BE8A-C4914DBBE847}" type="pres">
      <dgm:prSet presAssocID="{A508D72F-BE81-403F-8B18-3E4E4D4A58FB}" presName="rootComposite" presStyleCnt="0"/>
      <dgm:spPr/>
    </dgm:pt>
    <dgm:pt modelId="{DBB318E6-0EF9-497A-8A98-B81193AEB0FD}" type="pres">
      <dgm:prSet presAssocID="{A508D72F-BE81-403F-8B18-3E4E4D4A58FB}" presName="rootText" presStyleLbl="node4" presStyleIdx="1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A6590FC-A54C-4CD1-9E38-DB6377E0B842}" type="pres">
      <dgm:prSet presAssocID="{A508D72F-BE81-403F-8B18-3E4E4D4A58FB}" presName="rootConnector" presStyleLbl="node4" presStyleIdx="1" presStyleCnt="16"/>
      <dgm:spPr/>
      <dgm:t>
        <a:bodyPr/>
        <a:lstStyle/>
        <a:p>
          <a:pPr latinLnBrk="1"/>
          <a:endParaRPr lang="ko-KR" altLang="en-US"/>
        </a:p>
      </dgm:t>
    </dgm:pt>
    <dgm:pt modelId="{2969455F-5146-4786-8974-30701613F8E5}" type="pres">
      <dgm:prSet presAssocID="{A508D72F-BE81-403F-8B18-3E4E4D4A58FB}" presName="hierChild4" presStyleCnt="0"/>
      <dgm:spPr/>
    </dgm:pt>
    <dgm:pt modelId="{0ECCA110-0304-4EDB-B7BA-75C9F8AEED00}" type="pres">
      <dgm:prSet presAssocID="{CD227199-C43A-4F07-9B9C-31B36AAC1E4A}" presName="Name37" presStyleLbl="parChTrans1D4" presStyleIdx="2" presStyleCnt="16"/>
      <dgm:spPr/>
      <dgm:t>
        <a:bodyPr/>
        <a:lstStyle/>
        <a:p>
          <a:pPr latinLnBrk="1"/>
          <a:endParaRPr lang="ko-KR" altLang="en-US"/>
        </a:p>
      </dgm:t>
    </dgm:pt>
    <dgm:pt modelId="{5DACCBE8-3CE9-402A-8564-CF5BA54D1A83}" type="pres">
      <dgm:prSet presAssocID="{A2BBF0A5-5D1A-41EE-AB12-B4A3B11631DD}" presName="hierRoot2" presStyleCnt="0">
        <dgm:presLayoutVars>
          <dgm:hierBranch val="init"/>
        </dgm:presLayoutVars>
      </dgm:prSet>
      <dgm:spPr/>
    </dgm:pt>
    <dgm:pt modelId="{F4CCFDBB-FB6C-4D2D-951E-EB5A3DBE1857}" type="pres">
      <dgm:prSet presAssocID="{A2BBF0A5-5D1A-41EE-AB12-B4A3B11631DD}" presName="rootComposite" presStyleCnt="0"/>
      <dgm:spPr/>
    </dgm:pt>
    <dgm:pt modelId="{79951B95-0E1F-497F-9215-D04A2A4B1CE9}" type="pres">
      <dgm:prSet presAssocID="{A2BBF0A5-5D1A-41EE-AB12-B4A3B11631DD}" presName="rootText" presStyleLbl="node4" presStyleIdx="2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A93F12D-DD99-4E08-A636-F53B28BDCC28}" type="pres">
      <dgm:prSet presAssocID="{A2BBF0A5-5D1A-41EE-AB12-B4A3B11631DD}" presName="rootConnector" presStyleLbl="node4" presStyleIdx="2" presStyleCnt="16"/>
      <dgm:spPr/>
      <dgm:t>
        <a:bodyPr/>
        <a:lstStyle/>
        <a:p>
          <a:pPr latinLnBrk="1"/>
          <a:endParaRPr lang="ko-KR" altLang="en-US"/>
        </a:p>
      </dgm:t>
    </dgm:pt>
    <dgm:pt modelId="{09F0D646-8BB2-48D2-8BAE-5145C1D81D33}" type="pres">
      <dgm:prSet presAssocID="{A2BBF0A5-5D1A-41EE-AB12-B4A3B11631DD}" presName="hierChild4" presStyleCnt="0"/>
      <dgm:spPr/>
    </dgm:pt>
    <dgm:pt modelId="{B717FF73-D484-4223-8959-3FAC91414302}" type="pres">
      <dgm:prSet presAssocID="{A2BBF0A5-5D1A-41EE-AB12-B4A3B11631DD}" presName="hierChild5" presStyleCnt="0"/>
      <dgm:spPr/>
    </dgm:pt>
    <dgm:pt modelId="{488475D6-E3DE-4760-98DF-A2058EFA7AA4}" type="pres">
      <dgm:prSet presAssocID="{9615D82F-35E6-4EB3-ADB9-1621753020B7}" presName="Name37" presStyleLbl="parChTrans1D4" presStyleIdx="3" presStyleCnt="16"/>
      <dgm:spPr/>
      <dgm:t>
        <a:bodyPr/>
        <a:lstStyle/>
        <a:p>
          <a:pPr latinLnBrk="1"/>
          <a:endParaRPr lang="ko-KR" altLang="en-US"/>
        </a:p>
      </dgm:t>
    </dgm:pt>
    <dgm:pt modelId="{7F65090C-710A-4DDA-8D75-6A1DCCC747D1}" type="pres">
      <dgm:prSet presAssocID="{7130CA5C-7CC0-4772-9E3B-3CDE0018E3EC}" presName="hierRoot2" presStyleCnt="0">
        <dgm:presLayoutVars>
          <dgm:hierBranch val="init"/>
        </dgm:presLayoutVars>
      </dgm:prSet>
      <dgm:spPr/>
    </dgm:pt>
    <dgm:pt modelId="{7058E557-B8C3-462A-8DCA-30418D465355}" type="pres">
      <dgm:prSet presAssocID="{7130CA5C-7CC0-4772-9E3B-3CDE0018E3EC}" presName="rootComposite" presStyleCnt="0"/>
      <dgm:spPr/>
    </dgm:pt>
    <dgm:pt modelId="{4102933D-B9FD-4622-B378-F0338B27DB23}" type="pres">
      <dgm:prSet presAssocID="{7130CA5C-7CC0-4772-9E3B-3CDE0018E3EC}" presName="rootText" presStyleLbl="node4" presStyleIdx="3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195AFD7-D022-4BF3-9130-0EF9C2B882B3}" type="pres">
      <dgm:prSet presAssocID="{7130CA5C-7CC0-4772-9E3B-3CDE0018E3EC}" presName="rootConnector" presStyleLbl="node4" presStyleIdx="3" presStyleCnt="16"/>
      <dgm:spPr/>
      <dgm:t>
        <a:bodyPr/>
        <a:lstStyle/>
        <a:p>
          <a:pPr latinLnBrk="1"/>
          <a:endParaRPr lang="ko-KR" altLang="en-US"/>
        </a:p>
      </dgm:t>
    </dgm:pt>
    <dgm:pt modelId="{AEDC7FE5-79DE-4B65-8C03-7AB02C282613}" type="pres">
      <dgm:prSet presAssocID="{7130CA5C-7CC0-4772-9E3B-3CDE0018E3EC}" presName="hierChild4" presStyleCnt="0"/>
      <dgm:spPr/>
    </dgm:pt>
    <dgm:pt modelId="{69BA0DE5-7D6F-43D6-B0B9-F7529BFE77B0}" type="pres">
      <dgm:prSet presAssocID="{7130CA5C-7CC0-4772-9E3B-3CDE0018E3EC}" presName="hierChild5" presStyleCnt="0"/>
      <dgm:spPr/>
    </dgm:pt>
    <dgm:pt modelId="{16440DD0-E5DE-46B7-8BA1-09C08D6D92DF}" type="pres">
      <dgm:prSet presAssocID="{A508D72F-BE81-403F-8B18-3E4E4D4A58FB}" presName="hierChild5" presStyleCnt="0"/>
      <dgm:spPr/>
    </dgm:pt>
    <dgm:pt modelId="{6FA85FFE-0E29-4D3A-8559-9333DFFC306A}" type="pres">
      <dgm:prSet presAssocID="{D9100671-4CB5-4820-B7B4-4B271219FE40}" presName="hierChild5" presStyleCnt="0"/>
      <dgm:spPr/>
    </dgm:pt>
    <dgm:pt modelId="{290416AC-1979-4604-9930-F25DD712C390}" type="pres">
      <dgm:prSet presAssocID="{D0E7357C-0F89-42A3-ACC2-97DE8F12497B}" presName="hierChild5" presStyleCnt="0"/>
      <dgm:spPr/>
    </dgm:pt>
    <dgm:pt modelId="{CD5488BC-8F6C-4A2E-9431-200F8E798A8F}" type="pres">
      <dgm:prSet presAssocID="{D17AFCDF-A84F-42C7-9568-98E7765CC252}" presName="hierChild5" presStyleCnt="0"/>
      <dgm:spPr/>
    </dgm:pt>
    <dgm:pt modelId="{E3F6FB8C-F2C7-4BA2-AA1B-64E02C01B378}" type="pres">
      <dgm:prSet presAssocID="{F93C97F4-BFB9-4CC0-9E4E-8D85C7FC5B0C}" presName="Name37" presStyleLbl="parChTrans1D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2CDBDA91-9AC1-4682-8296-1038470C176C}" type="pres">
      <dgm:prSet presAssocID="{8F47B722-8C74-4E42-959D-B200DD9A0423}" presName="hierRoot2" presStyleCnt="0">
        <dgm:presLayoutVars>
          <dgm:hierBranch val="init"/>
        </dgm:presLayoutVars>
      </dgm:prSet>
      <dgm:spPr/>
    </dgm:pt>
    <dgm:pt modelId="{1B3E4DFD-B199-410F-8F3C-2FD61C72253D}" type="pres">
      <dgm:prSet presAssocID="{8F47B722-8C74-4E42-959D-B200DD9A0423}" presName="rootComposite" presStyleCnt="0"/>
      <dgm:spPr/>
    </dgm:pt>
    <dgm:pt modelId="{8A7301E4-6839-4A0B-BBD5-6C11DD40797D}" type="pres">
      <dgm:prSet presAssocID="{8F47B722-8C74-4E42-959D-B200DD9A0423}" presName="rootText" presStyleLbl="node2" presStyleIdx="1" presStyleCnt="4" custScaleX="126830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F0CBA67-A219-4313-B4DC-C4682C06DE52}" type="pres">
      <dgm:prSet presAssocID="{8F47B722-8C74-4E42-959D-B200DD9A0423}" presName="rootConnector" presStyleLbl="node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4AA8A3AB-1233-4958-8CFE-0A4B7E231FF3}" type="pres">
      <dgm:prSet presAssocID="{8F47B722-8C74-4E42-959D-B200DD9A0423}" presName="hierChild4" presStyleCnt="0"/>
      <dgm:spPr/>
    </dgm:pt>
    <dgm:pt modelId="{6DF3FE2B-F1DA-4413-8913-2B9E5EE9BE1A}" type="pres">
      <dgm:prSet presAssocID="{29DD73ED-3BDB-4C52-853A-36FC0EA20AF7}" presName="Name37" presStyleLbl="parChTrans1D3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54B3288E-B666-4374-923C-D90F5AEE32CD}" type="pres">
      <dgm:prSet presAssocID="{01D388E7-1A65-41B1-B0F3-C1E8B9DFB691}" presName="hierRoot2" presStyleCnt="0">
        <dgm:presLayoutVars>
          <dgm:hierBranch val="init"/>
        </dgm:presLayoutVars>
      </dgm:prSet>
      <dgm:spPr/>
    </dgm:pt>
    <dgm:pt modelId="{D06B4687-D0A7-4E1D-AC27-97BC1EDCED1C}" type="pres">
      <dgm:prSet presAssocID="{01D388E7-1A65-41B1-B0F3-C1E8B9DFB691}" presName="rootComposite" presStyleCnt="0"/>
      <dgm:spPr/>
    </dgm:pt>
    <dgm:pt modelId="{14C0F6B3-7708-4CAD-B8EC-E9A689648763}" type="pres">
      <dgm:prSet presAssocID="{01D388E7-1A65-41B1-B0F3-C1E8B9DFB691}" presName="rootText" presStyleLbl="node3" presStyleIdx="1" presStyleCnt="4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3F6EC11-8BB0-4EB2-9B75-2CB751E9AFFE}" type="pres">
      <dgm:prSet presAssocID="{01D388E7-1A65-41B1-B0F3-C1E8B9DFB691}" presName="rootConnector" presStyleLbl="node3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8DAC05B8-3347-401A-AC34-1F37CAA9A202}" type="pres">
      <dgm:prSet presAssocID="{01D388E7-1A65-41B1-B0F3-C1E8B9DFB691}" presName="hierChild4" presStyleCnt="0"/>
      <dgm:spPr/>
    </dgm:pt>
    <dgm:pt modelId="{25490263-AA39-456D-B8BE-13FAC661C19E}" type="pres">
      <dgm:prSet presAssocID="{16CFFC99-9FC8-48B6-901B-664BBBB409D2}" presName="Name37" presStyleLbl="parChTrans1D4" presStyleIdx="4" presStyleCnt="16"/>
      <dgm:spPr/>
      <dgm:t>
        <a:bodyPr/>
        <a:lstStyle/>
        <a:p>
          <a:pPr latinLnBrk="1"/>
          <a:endParaRPr lang="ko-KR" altLang="en-US"/>
        </a:p>
      </dgm:t>
    </dgm:pt>
    <dgm:pt modelId="{A7623238-7A87-444A-BECE-36F25C02AB04}" type="pres">
      <dgm:prSet presAssocID="{40FF39DC-82F8-41CA-B7B9-CC56D9A5B34B}" presName="hierRoot2" presStyleCnt="0">
        <dgm:presLayoutVars>
          <dgm:hierBranch val="init"/>
        </dgm:presLayoutVars>
      </dgm:prSet>
      <dgm:spPr/>
    </dgm:pt>
    <dgm:pt modelId="{F128C1E1-4636-499A-8DDA-C929293BCC95}" type="pres">
      <dgm:prSet presAssocID="{40FF39DC-82F8-41CA-B7B9-CC56D9A5B34B}" presName="rootComposite" presStyleCnt="0"/>
      <dgm:spPr/>
    </dgm:pt>
    <dgm:pt modelId="{09CA3129-8B94-4B14-958F-A7CA4D18A9B9}" type="pres">
      <dgm:prSet presAssocID="{40FF39DC-82F8-41CA-B7B9-CC56D9A5B34B}" presName="rootText" presStyleLbl="node4" presStyleIdx="4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135482C-7C3E-4A3A-AB63-C361DE474E45}" type="pres">
      <dgm:prSet presAssocID="{40FF39DC-82F8-41CA-B7B9-CC56D9A5B34B}" presName="rootConnector" presStyleLbl="node4" presStyleIdx="4" presStyleCnt="16"/>
      <dgm:spPr/>
      <dgm:t>
        <a:bodyPr/>
        <a:lstStyle/>
        <a:p>
          <a:pPr latinLnBrk="1"/>
          <a:endParaRPr lang="ko-KR" altLang="en-US"/>
        </a:p>
      </dgm:t>
    </dgm:pt>
    <dgm:pt modelId="{CF744B91-7569-4802-944A-D4867A059610}" type="pres">
      <dgm:prSet presAssocID="{40FF39DC-82F8-41CA-B7B9-CC56D9A5B34B}" presName="hierChild4" presStyleCnt="0"/>
      <dgm:spPr/>
    </dgm:pt>
    <dgm:pt modelId="{7A2DCF16-4793-4F62-8615-1A86A0383840}" type="pres">
      <dgm:prSet presAssocID="{3CC58F7F-98F9-4AED-BB13-A65BDD0646EB}" presName="Name37" presStyleLbl="parChTrans1D4" presStyleIdx="5" presStyleCnt="16"/>
      <dgm:spPr/>
      <dgm:t>
        <a:bodyPr/>
        <a:lstStyle/>
        <a:p>
          <a:pPr latinLnBrk="1"/>
          <a:endParaRPr lang="ko-KR" altLang="en-US"/>
        </a:p>
      </dgm:t>
    </dgm:pt>
    <dgm:pt modelId="{E4FCECBF-E460-48FA-A15E-DCF2DC70EEBD}" type="pres">
      <dgm:prSet presAssocID="{0D3039E0-1F69-4B7D-8F76-2E7447C24984}" presName="hierRoot2" presStyleCnt="0">
        <dgm:presLayoutVars>
          <dgm:hierBranch val="init"/>
        </dgm:presLayoutVars>
      </dgm:prSet>
      <dgm:spPr/>
    </dgm:pt>
    <dgm:pt modelId="{1C00396D-C161-4B99-9732-5D9ED84D37CB}" type="pres">
      <dgm:prSet presAssocID="{0D3039E0-1F69-4B7D-8F76-2E7447C24984}" presName="rootComposite" presStyleCnt="0"/>
      <dgm:spPr/>
    </dgm:pt>
    <dgm:pt modelId="{1B6B3A2C-2B86-46D8-8C2F-D122B2AA83BF}" type="pres">
      <dgm:prSet presAssocID="{0D3039E0-1F69-4B7D-8F76-2E7447C24984}" presName="rootText" presStyleLbl="node4" presStyleIdx="5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3DFBC13-575B-44C5-9411-8C49A89188ED}" type="pres">
      <dgm:prSet presAssocID="{0D3039E0-1F69-4B7D-8F76-2E7447C24984}" presName="rootConnector" presStyleLbl="node4" presStyleIdx="5" presStyleCnt="16"/>
      <dgm:spPr/>
      <dgm:t>
        <a:bodyPr/>
        <a:lstStyle/>
        <a:p>
          <a:pPr latinLnBrk="1"/>
          <a:endParaRPr lang="ko-KR" altLang="en-US"/>
        </a:p>
      </dgm:t>
    </dgm:pt>
    <dgm:pt modelId="{E40509C5-A16B-48FF-B1F2-E683DC65CAEC}" type="pres">
      <dgm:prSet presAssocID="{0D3039E0-1F69-4B7D-8F76-2E7447C24984}" presName="hierChild4" presStyleCnt="0"/>
      <dgm:spPr/>
    </dgm:pt>
    <dgm:pt modelId="{00C1FD16-2F46-47BB-BF0F-C1D434EB35EE}" type="pres">
      <dgm:prSet presAssocID="{A7841DCF-985E-4315-8A88-049275F106D7}" presName="Name37" presStyleLbl="parChTrans1D4" presStyleIdx="6" presStyleCnt="16"/>
      <dgm:spPr/>
      <dgm:t>
        <a:bodyPr/>
        <a:lstStyle/>
        <a:p>
          <a:pPr latinLnBrk="1"/>
          <a:endParaRPr lang="ko-KR" altLang="en-US"/>
        </a:p>
      </dgm:t>
    </dgm:pt>
    <dgm:pt modelId="{A06EB592-63C2-4466-A8AD-17450E8479B6}" type="pres">
      <dgm:prSet presAssocID="{73386C65-C094-48CF-87A9-FF1C7BA19C92}" presName="hierRoot2" presStyleCnt="0">
        <dgm:presLayoutVars>
          <dgm:hierBranch val="init"/>
        </dgm:presLayoutVars>
      </dgm:prSet>
      <dgm:spPr/>
    </dgm:pt>
    <dgm:pt modelId="{F096C677-04DC-4D27-AAE7-612F20DF6EBA}" type="pres">
      <dgm:prSet presAssocID="{73386C65-C094-48CF-87A9-FF1C7BA19C92}" presName="rootComposite" presStyleCnt="0"/>
      <dgm:spPr/>
    </dgm:pt>
    <dgm:pt modelId="{0CEF3506-6E37-4655-993C-7C8FD251AC4E}" type="pres">
      <dgm:prSet presAssocID="{73386C65-C094-48CF-87A9-FF1C7BA19C92}" presName="rootText" presStyleLbl="node4" presStyleIdx="6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6805636-D31E-43BA-8879-D61E1A01CD81}" type="pres">
      <dgm:prSet presAssocID="{73386C65-C094-48CF-87A9-FF1C7BA19C92}" presName="rootConnector" presStyleLbl="node4" presStyleIdx="6" presStyleCnt="16"/>
      <dgm:spPr/>
      <dgm:t>
        <a:bodyPr/>
        <a:lstStyle/>
        <a:p>
          <a:pPr latinLnBrk="1"/>
          <a:endParaRPr lang="ko-KR" altLang="en-US"/>
        </a:p>
      </dgm:t>
    </dgm:pt>
    <dgm:pt modelId="{E8F82A9E-EE69-4207-AD52-B8FF3E26A3A7}" type="pres">
      <dgm:prSet presAssocID="{73386C65-C094-48CF-87A9-FF1C7BA19C92}" presName="hierChild4" presStyleCnt="0"/>
      <dgm:spPr/>
    </dgm:pt>
    <dgm:pt modelId="{8CEBFE10-552B-4804-AC47-003306650626}" type="pres">
      <dgm:prSet presAssocID="{73386C65-C094-48CF-87A9-FF1C7BA19C92}" presName="hierChild5" presStyleCnt="0"/>
      <dgm:spPr/>
    </dgm:pt>
    <dgm:pt modelId="{EA7C6641-F5B5-4C91-833F-DC62F6D2E2DC}" type="pres">
      <dgm:prSet presAssocID="{478606B2-7B53-4BD8-844D-EEA3A0C26CC1}" presName="Name37" presStyleLbl="parChTrans1D4" presStyleIdx="7" presStyleCnt="16"/>
      <dgm:spPr/>
      <dgm:t>
        <a:bodyPr/>
        <a:lstStyle/>
        <a:p>
          <a:pPr latinLnBrk="1"/>
          <a:endParaRPr lang="ko-KR" altLang="en-US"/>
        </a:p>
      </dgm:t>
    </dgm:pt>
    <dgm:pt modelId="{8D3C9F6F-4919-443A-B2CE-4795C5EC33B0}" type="pres">
      <dgm:prSet presAssocID="{8E4C77DF-E3F9-430C-930D-187C7A3C61E9}" presName="hierRoot2" presStyleCnt="0">
        <dgm:presLayoutVars>
          <dgm:hierBranch val="init"/>
        </dgm:presLayoutVars>
      </dgm:prSet>
      <dgm:spPr/>
    </dgm:pt>
    <dgm:pt modelId="{F2B9C19F-0340-4BC8-919D-2A4A5987C7B5}" type="pres">
      <dgm:prSet presAssocID="{8E4C77DF-E3F9-430C-930D-187C7A3C61E9}" presName="rootComposite" presStyleCnt="0"/>
      <dgm:spPr/>
    </dgm:pt>
    <dgm:pt modelId="{9E04ADE1-C339-4D8A-A4CC-AA4254DF2FAE}" type="pres">
      <dgm:prSet presAssocID="{8E4C77DF-E3F9-430C-930D-187C7A3C61E9}" presName="rootText" presStyleLbl="node4" presStyleIdx="7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B4C0C91-16B1-433B-8211-E67D9939B331}" type="pres">
      <dgm:prSet presAssocID="{8E4C77DF-E3F9-430C-930D-187C7A3C61E9}" presName="rootConnector" presStyleLbl="node4" presStyleIdx="7" presStyleCnt="16"/>
      <dgm:spPr/>
      <dgm:t>
        <a:bodyPr/>
        <a:lstStyle/>
        <a:p>
          <a:pPr latinLnBrk="1"/>
          <a:endParaRPr lang="ko-KR" altLang="en-US"/>
        </a:p>
      </dgm:t>
    </dgm:pt>
    <dgm:pt modelId="{0DEF4B63-6C2B-46CD-9136-DB007261750E}" type="pres">
      <dgm:prSet presAssocID="{8E4C77DF-E3F9-430C-930D-187C7A3C61E9}" presName="hierChild4" presStyleCnt="0"/>
      <dgm:spPr/>
    </dgm:pt>
    <dgm:pt modelId="{7AA28639-B60A-40DC-BF9E-2FD396B3D7B3}" type="pres">
      <dgm:prSet presAssocID="{8E4C77DF-E3F9-430C-930D-187C7A3C61E9}" presName="hierChild5" presStyleCnt="0"/>
      <dgm:spPr/>
    </dgm:pt>
    <dgm:pt modelId="{F075DDE6-0972-41D9-B707-D8687CA19B0A}" type="pres">
      <dgm:prSet presAssocID="{0D3039E0-1F69-4B7D-8F76-2E7447C24984}" presName="hierChild5" presStyleCnt="0"/>
      <dgm:spPr/>
    </dgm:pt>
    <dgm:pt modelId="{EEB5EBBD-A7A9-4BB5-A632-DFF511FD3D0A}" type="pres">
      <dgm:prSet presAssocID="{40FF39DC-82F8-41CA-B7B9-CC56D9A5B34B}" presName="hierChild5" presStyleCnt="0"/>
      <dgm:spPr/>
    </dgm:pt>
    <dgm:pt modelId="{0DBA6529-6650-4132-ACCC-7D7D69DC460D}" type="pres">
      <dgm:prSet presAssocID="{01D388E7-1A65-41B1-B0F3-C1E8B9DFB691}" presName="hierChild5" presStyleCnt="0"/>
      <dgm:spPr/>
    </dgm:pt>
    <dgm:pt modelId="{9E88C892-72D1-478E-AEF5-D0D8B808C5FF}" type="pres">
      <dgm:prSet presAssocID="{8F47B722-8C74-4E42-959D-B200DD9A0423}" presName="hierChild5" presStyleCnt="0"/>
      <dgm:spPr/>
    </dgm:pt>
    <dgm:pt modelId="{E68009D5-0F24-495C-B17E-71B0D4EE1A02}" type="pres">
      <dgm:prSet presAssocID="{1161B3C3-4CC8-4D03-9228-213AB69E18C5}" presName="Name37" presStyleLbl="parChTrans1D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7DA6822D-491A-44ED-B51B-1166D53CAABE}" type="pres">
      <dgm:prSet presAssocID="{50CF7D8C-7ED1-4102-8347-F71CA316740F}" presName="hierRoot2" presStyleCnt="0">
        <dgm:presLayoutVars>
          <dgm:hierBranch val="init"/>
        </dgm:presLayoutVars>
      </dgm:prSet>
      <dgm:spPr/>
    </dgm:pt>
    <dgm:pt modelId="{9CEF4D66-75FA-4B91-BFA0-248F2700F391}" type="pres">
      <dgm:prSet presAssocID="{50CF7D8C-7ED1-4102-8347-F71CA316740F}" presName="rootComposite" presStyleCnt="0"/>
      <dgm:spPr/>
    </dgm:pt>
    <dgm:pt modelId="{7E3A5B43-1594-4AEF-A8C9-9DDF3845EB77}" type="pres">
      <dgm:prSet presAssocID="{50CF7D8C-7ED1-4102-8347-F71CA316740F}" presName="rootText" presStyleLbl="node2" presStyleIdx="2" presStyleCnt="4" custScaleX="126830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814F93A-BA38-4945-8DB7-3A338E9C09C0}" type="pres">
      <dgm:prSet presAssocID="{50CF7D8C-7ED1-4102-8347-F71CA316740F}" presName="rootConnector" presStyleLbl="node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3824A08B-6BDF-4345-AF53-B824C1AADBA0}" type="pres">
      <dgm:prSet presAssocID="{50CF7D8C-7ED1-4102-8347-F71CA316740F}" presName="hierChild4" presStyleCnt="0"/>
      <dgm:spPr/>
    </dgm:pt>
    <dgm:pt modelId="{DFCF65C2-1D4E-4203-8483-263873D3B705}" type="pres">
      <dgm:prSet presAssocID="{B01CBABA-8942-409E-8096-D3A4E82429D2}" presName="Name37" presStyleLbl="parChTrans1D3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A5DC6E14-2DD8-4A4D-9B0E-11E200E26A73}" type="pres">
      <dgm:prSet presAssocID="{60CBB08E-EF13-4941-91EA-CE35D6A9BC7C}" presName="hierRoot2" presStyleCnt="0">
        <dgm:presLayoutVars>
          <dgm:hierBranch val="init"/>
        </dgm:presLayoutVars>
      </dgm:prSet>
      <dgm:spPr/>
    </dgm:pt>
    <dgm:pt modelId="{92B72518-CFA3-4035-9BF7-97ECA93F9B62}" type="pres">
      <dgm:prSet presAssocID="{60CBB08E-EF13-4941-91EA-CE35D6A9BC7C}" presName="rootComposite" presStyleCnt="0"/>
      <dgm:spPr/>
    </dgm:pt>
    <dgm:pt modelId="{65C0A499-92EB-45F2-949A-1B73F4D033F2}" type="pres">
      <dgm:prSet presAssocID="{60CBB08E-EF13-4941-91EA-CE35D6A9BC7C}" presName="rootText" presStyleLbl="node3" presStyleIdx="2" presStyleCnt="4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8E166B0-531E-43B7-8A97-C6036663D8E6}" type="pres">
      <dgm:prSet presAssocID="{60CBB08E-EF13-4941-91EA-CE35D6A9BC7C}" presName="rootConnector" presStyleLbl="node3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4B08A774-F3F2-47E7-B366-6D92574A5B17}" type="pres">
      <dgm:prSet presAssocID="{60CBB08E-EF13-4941-91EA-CE35D6A9BC7C}" presName="hierChild4" presStyleCnt="0"/>
      <dgm:spPr/>
    </dgm:pt>
    <dgm:pt modelId="{4BA0D1F8-7A76-45FB-9F8B-A143F3689240}" type="pres">
      <dgm:prSet presAssocID="{266BBE48-F423-4813-B0B4-D043CA72629D}" presName="Name37" presStyleLbl="parChTrans1D4" presStyleIdx="8" presStyleCnt="16"/>
      <dgm:spPr/>
      <dgm:t>
        <a:bodyPr/>
        <a:lstStyle/>
        <a:p>
          <a:pPr latinLnBrk="1"/>
          <a:endParaRPr lang="ko-KR" altLang="en-US"/>
        </a:p>
      </dgm:t>
    </dgm:pt>
    <dgm:pt modelId="{12AEE908-2F1F-4FE8-84C2-1496551E89D4}" type="pres">
      <dgm:prSet presAssocID="{2CF8B66D-8174-4BE4-B419-64DC77D94A8C}" presName="hierRoot2" presStyleCnt="0">
        <dgm:presLayoutVars>
          <dgm:hierBranch val="init"/>
        </dgm:presLayoutVars>
      </dgm:prSet>
      <dgm:spPr/>
    </dgm:pt>
    <dgm:pt modelId="{2AF134DD-D125-43F2-BD07-897080FFDF25}" type="pres">
      <dgm:prSet presAssocID="{2CF8B66D-8174-4BE4-B419-64DC77D94A8C}" presName="rootComposite" presStyleCnt="0"/>
      <dgm:spPr/>
    </dgm:pt>
    <dgm:pt modelId="{C991FD64-A9E4-4E4E-9AC8-B5BEFA41DAF1}" type="pres">
      <dgm:prSet presAssocID="{2CF8B66D-8174-4BE4-B419-64DC77D94A8C}" presName="rootText" presStyleLbl="node4" presStyleIdx="8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BAD4223-2F15-4A1F-8B72-E4CEE4217AF4}" type="pres">
      <dgm:prSet presAssocID="{2CF8B66D-8174-4BE4-B419-64DC77D94A8C}" presName="rootConnector" presStyleLbl="node4" presStyleIdx="8" presStyleCnt="16"/>
      <dgm:spPr/>
      <dgm:t>
        <a:bodyPr/>
        <a:lstStyle/>
        <a:p>
          <a:pPr latinLnBrk="1"/>
          <a:endParaRPr lang="ko-KR" altLang="en-US"/>
        </a:p>
      </dgm:t>
    </dgm:pt>
    <dgm:pt modelId="{C5A3C17C-C0D3-4D9C-B316-2F4236677811}" type="pres">
      <dgm:prSet presAssocID="{2CF8B66D-8174-4BE4-B419-64DC77D94A8C}" presName="hierChild4" presStyleCnt="0"/>
      <dgm:spPr/>
    </dgm:pt>
    <dgm:pt modelId="{331F420B-6220-4553-B12C-D8A16684D2A0}" type="pres">
      <dgm:prSet presAssocID="{EDD8AAAA-92FE-4498-830A-5A9787ED36D9}" presName="Name37" presStyleLbl="parChTrans1D4" presStyleIdx="9" presStyleCnt="16"/>
      <dgm:spPr/>
      <dgm:t>
        <a:bodyPr/>
        <a:lstStyle/>
        <a:p>
          <a:pPr latinLnBrk="1"/>
          <a:endParaRPr lang="ko-KR" altLang="en-US"/>
        </a:p>
      </dgm:t>
    </dgm:pt>
    <dgm:pt modelId="{BE28020A-DE7C-46F4-A35B-B29765B8C7E0}" type="pres">
      <dgm:prSet presAssocID="{14A813EF-3B6D-4FC8-B6BA-F6D1ECBB162C}" presName="hierRoot2" presStyleCnt="0">
        <dgm:presLayoutVars>
          <dgm:hierBranch val="init"/>
        </dgm:presLayoutVars>
      </dgm:prSet>
      <dgm:spPr/>
    </dgm:pt>
    <dgm:pt modelId="{7CB87017-0D23-4D3F-A0A4-4CAAFA3C651E}" type="pres">
      <dgm:prSet presAssocID="{14A813EF-3B6D-4FC8-B6BA-F6D1ECBB162C}" presName="rootComposite" presStyleCnt="0"/>
      <dgm:spPr/>
    </dgm:pt>
    <dgm:pt modelId="{BC4DFC15-38D5-41CC-8E68-75EBB547D8BC}" type="pres">
      <dgm:prSet presAssocID="{14A813EF-3B6D-4FC8-B6BA-F6D1ECBB162C}" presName="rootText" presStyleLbl="node4" presStyleIdx="9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26480DA-D004-4E2D-86B6-AA75876EE6A5}" type="pres">
      <dgm:prSet presAssocID="{14A813EF-3B6D-4FC8-B6BA-F6D1ECBB162C}" presName="rootConnector" presStyleLbl="node4" presStyleIdx="9" presStyleCnt="16"/>
      <dgm:spPr/>
      <dgm:t>
        <a:bodyPr/>
        <a:lstStyle/>
        <a:p>
          <a:pPr latinLnBrk="1"/>
          <a:endParaRPr lang="ko-KR" altLang="en-US"/>
        </a:p>
      </dgm:t>
    </dgm:pt>
    <dgm:pt modelId="{967E1487-2099-4560-9247-78C15BCC30B6}" type="pres">
      <dgm:prSet presAssocID="{14A813EF-3B6D-4FC8-B6BA-F6D1ECBB162C}" presName="hierChild4" presStyleCnt="0"/>
      <dgm:spPr/>
    </dgm:pt>
    <dgm:pt modelId="{F661A9E4-35A6-43C0-AA52-081AC41A5F9E}" type="pres">
      <dgm:prSet presAssocID="{ADACB42D-BC5B-43E8-BA83-A55BBB84C39D}" presName="Name37" presStyleLbl="parChTrans1D4" presStyleIdx="10" presStyleCnt="16"/>
      <dgm:spPr/>
      <dgm:t>
        <a:bodyPr/>
        <a:lstStyle/>
        <a:p>
          <a:pPr latinLnBrk="1"/>
          <a:endParaRPr lang="ko-KR" altLang="en-US"/>
        </a:p>
      </dgm:t>
    </dgm:pt>
    <dgm:pt modelId="{CEDF1682-0938-48E4-8714-3B1A826580D8}" type="pres">
      <dgm:prSet presAssocID="{C88E93D3-DC8B-49C4-9469-921571AF18CD}" presName="hierRoot2" presStyleCnt="0">
        <dgm:presLayoutVars>
          <dgm:hierBranch val="init"/>
        </dgm:presLayoutVars>
      </dgm:prSet>
      <dgm:spPr/>
    </dgm:pt>
    <dgm:pt modelId="{3E81635A-ECF8-43E9-8BA1-7901B35E58C8}" type="pres">
      <dgm:prSet presAssocID="{C88E93D3-DC8B-49C4-9469-921571AF18CD}" presName="rootComposite" presStyleCnt="0"/>
      <dgm:spPr/>
    </dgm:pt>
    <dgm:pt modelId="{3F55631A-91F2-41E7-A0EE-27EE016C0D99}" type="pres">
      <dgm:prSet presAssocID="{C88E93D3-DC8B-49C4-9469-921571AF18CD}" presName="rootText" presStyleLbl="node4" presStyleIdx="10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7C7AA31-4D9B-4EB0-A820-70CCF7589E7C}" type="pres">
      <dgm:prSet presAssocID="{C88E93D3-DC8B-49C4-9469-921571AF18CD}" presName="rootConnector" presStyleLbl="node4" presStyleIdx="10" presStyleCnt="16"/>
      <dgm:spPr/>
      <dgm:t>
        <a:bodyPr/>
        <a:lstStyle/>
        <a:p>
          <a:pPr latinLnBrk="1"/>
          <a:endParaRPr lang="ko-KR" altLang="en-US"/>
        </a:p>
      </dgm:t>
    </dgm:pt>
    <dgm:pt modelId="{3F8AF12B-C194-402F-8994-FA9596B36E66}" type="pres">
      <dgm:prSet presAssocID="{C88E93D3-DC8B-49C4-9469-921571AF18CD}" presName="hierChild4" presStyleCnt="0"/>
      <dgm:spPr/>
    </dgm:pt>
    <dgm:pt modelId="{00BBB05E-DB50-44E6-8511-93F77984E297}" type="pres">
      <dgm:prSet presAssocID="{C88E93D3-DC8B-49C4-9469-921571AF18CD}" presName="hierChild5" presStyleCnt="0"/>
      <dgm:spPr/>
    </dgm:pt>
    <dgm:pt modelId="{15CE33D1-5C8B-455E-AC3F-60E4AC0BA046}" type="pres">
      <dgm:prSet presAssocID="{A1F7BA2B-0B6E-4238-A50C-9B67356B415C}" presName="Name37" presStyleLbl="parChTrans1D4" presStyleIdx="11" presStyleCnt="16"/>
      <dgm:spPr/>
      <dgm:t>
        <a:bodyPr/>
        <a:lstStyle/>
        <a:p>
          <a:pPr latinLnBrk="1"/>
          <a:endParaRPr lang="ko-KR" altLang="en-US"/>
        </a:p>
      </dgm:t>
    </dgm:pt>
    <dgm:pt modelId="{58424C23-FBDF-4694-A2C5-229AD871674D}" type="pres">
      <dgm:prSet presAssocID="{21F71D55-FCFB-467E-8E5A-CAC10206FCAF}" presName="hierRoot2" presStyleCnt="0">
        <dgm:presLayoutVars>
          <dgm:hierBranch val="init"/>
        </dgm:presLayoutVars>
      </dgm:prSet>
      <dgm:spPr/>
    </dgm:pt>
    <dgm:pt modelId="{8B0C8FDB-EA42-4333-87D6-FA4959B4F93F}" type="pres">
      <dgm:prSet presAssocID="{21F71D55-FCFB-467E-8E5A-CAC10206FCAF}" presName="rootComposite" presStyleCnt="0"/>
      <dgm:spPr/>
    </dgm:pt>
    <dgm:pt modelId="{99DAC96F-E4A1-4F1A-8251-CD2275DF7C7B}" type="pres">
      <dgm:prSet presAssocID="{21F71D55-FCFB-467E-8E5A-CAC10206FCAF}" presName="rootText" presStyleLbl="node4" presStyleIdx="11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FA457B9-E94F-4F6F-B751-2A6B4884602F}" type="pres">
      <dgm:prSet presAssocID="{21F71D55-FCFB-467E-8E5A-CAC10206FCAF}" presName="rootConnector" presStyleLbl="node4" presStyleIdx="11" presStyleCnt="16"/>
      <dgm:spPr/>
      <dgm:t>
        <a:bodyPr/>
        <a:lstStyle/>
        <a:p>
          <a:pPr latinLnBrk="1"/>
          <a:endParaRPr lang="ko-KR" altLang="en-US"/>
        </a:p>
      </dgm:t>
    </dgm:pt>
    <dgm:pt modelId="{0E45B1ED-4A33-4700-BDAC-A34A053DB6F9}" type="pres">
      <dgm:prSet presAssocID="{21F71D55-FCFB-467E-8E5A-CAC10206FCAF}" presName="hierChild4" presStyleCnt="0"/>
      <dgm:spPr/>
    </dgm:pt>
    <dgm:pt modelId="{96C9E1A5-C33D-44D5-AE29-D9104E39D39C}" type="pres">
      <dgm:prSet presAssocID="{21F71D55-FCFB-467E-8E5A-CAC10206FCAF}" presName="hierChild5" presStyleCnt="0"/>
      <dgm:spPr/>
    </dgm:pt>
    <dgm:pt modelId="{D42485C5-484F-4FFD-9B0F-54678A35F986}" type="pres">
      <dgm:prSet presAssocID="{14A813EF-3B6D-4FC8-B6BA-F6D1ECBB162C}" presName="hierChild5" presStyleCnt="0"/>
      <dgm:spPr/>
    </dgm:pt>
    <dgm:pt modelId="{DCA0F69D-0FEC-43AA-A7FB-56D4D5CABD91}" type="pres">
      <dgm:prSet presAssocID="{05DF8F43-93AE-4EA4-A607-AF8A8BA5D19C}" presName="Name37" presStyleLbl="parChTrans1D4" presStyleIdx="12" presStyleCnt="16"/>
      <dgm:spPr/>
      <dgm:t>
        <a:bodyPr/>
        <a:lstStyle/>
        <a:p>
          <a:pPr latinLnBrk="1"/>
          <a:endParaRPr lang="ko-KR" altLang="en-US"/>
        </a:p>
      </dgm:t>
    </dgm:pt>
    <dgm:pt modelId="{883B7B0A-8F61-496C-9028-ACFD07AD3EF4}" type="pres">
      <dgm:prSet presAssocID="{331E408A-A070-48FD-A9DE-A58A8B93FD28}" presName="hierRoot2" presStyleCnt="0">
        <dgm:presLayoutVars>
          <dgm:hierBranch val="init"/>
        </dgm:presLayoutVars>
      </dgm:prSet>
      <dgm:spPr/>
    </dgm:pt>
    <dgm:pt modelId="{B9D09133-F184-4629-B5AD-161037094D19}" type="pres">
      <dgm:prSet presAssocID="{331E408A-A070-48FD-A9DE-A58A8B93FD28}" presName="rootComposite" presStyleCnt="0"/>
      <dgm:spPr/>
    </dgm:pt>
    <dgm:pt modelId="{9CDAB95E-10AC-4D07-9777-6AC18071A7DA}" type="pres">
      <dgm:prSet presAssocID="{331E408A-A070-48FD-A9DE-A58A8B93FD28}" presName="rootText" presStyleLbl="node4" presStyleIdx="12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B8AF4BD-CBE0-4CA5-833C-440BE0FDA61B}" type="pres">
      <dgm:prSet presAssocID="{331E408A-A070-48FD-A9DE-A58A8B93FD28}" presName="rootConnector" presStyleLbl="node4" presStyleIdx="12" presStyleCnt="16"/>
      <dgm:spPr/>
      <dgm:t>
        <a:bodyPr/>
        <a:lstStyle/>
        <a:p>
          <a:pPr latinLnBrk="1"/>
          <a:endParaRPr lang="ko-KR" altLang="en-US"/>
        </a:p>
      </dgm:t>
    </dgm:pt>
    <dgm:pt modelId="{E59A1562-D9ED-4A82-962E-9C37B2889271}" type="pres">
      <dgm:prSet presAssocID="{331E408A-A070-48FD-A9DE-A58A8B93FD28}" presName="hierChild4" presStyleCnt="0"/>
      <dgm:spPr/>
    </dgm:pt>
    <dgm:pt modelId="{A8367421-19E7-44F8-B42F-189DB39E11B2}" type="pres">
      <dgm:prSet presAssocID="{331E408A-A070-48FD-A9DE-A58A8B93FD28}" presName="hierChild5" presStyleCnt="0"/>
      <dgm:spPr/>
    </dgm:pt>
    <dgm:pt modelId="{C3F37AC0-70D0-4F54-A65E-747CB71F0DAB}" type="pres">
      <dgm:prSet presAssocID="{2CF8B66D-8174-4BE4-B419-64DC77D94A8C}" presName="hierChild5" presStyleCnt="0"/>
      <dgm:spPr/>
    </dgm:pt>
    <dgm:pt modelId="{B3300620-D487-4901-A86B-5783BDDC333F}" type="pres">
      <dgm:prSet presAssocID="{60CBB08E-EF13-4941-91EA-CE35D6A9BC7C}" presName="hierChild5" presStyleCnt="0"/>
      <dgm:spPr/>
    </dgm:pt>
    <dgm:pt modelId="{574C65FD-5127-4961-9183-6E86A88ECCD2}" type="pres">
      <dgm:prSet presAssocID="{50CF7D8C-7ED1-4102-8347-F71CA316740F}" presName="hierChild5" presStyleCnt="0"/>
      <dgm:spPr/>
    </dgm:pt>
    <dgm:pt modelId="{7A7136E1-CBCF-4CD9-86AB-8BC82BD8452F}" type="pres">
      <dgm:prSet presAssocID="{DB071331-65AC-4F4B-88A1-73AB9E168912}" presName="Name37" presStyleLbl="parChTrans1D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8606E31A-87FF-4F89-A1A8-D4BFAFE6E5CF}" type="pres">
      <dgm:prSet presAssocID="{27809B1E-ACB5-4EC5-8764-214E4EEC1B00}" presName="hierRoot2" presStyleCnt="0">
        <dgm:presLayoutVars>
          <dgm:hierBranch val="init"/>
        </dgm:presLayoutVars>
      </dgm:prSet>
      <dgm:spPr/>
    </dgm:pt>
    <dgm:pt modelId="{39A21E7D-5FD2-4C1B-AC1E-B463EE3413BD}" type="pres">
      <dgm:prSet presAssocID="{27809B1E-ACB5-4EC5-8764-214E4EEC1B00}" presName="rootComposite" presStyleCnt="0"/>
      <dgm:spPr/>
    </dgm:pt>
    <dgm:pt modelId="{F64A5C08-9C7D-4E71-AB14-8CF1F43E6643}" type="pres">
      <dgm:prSet presAssocID="{27809B1E-ACB5-4EC5-8764-214E4EEC1B00}" presName="rootText" presStyleLbl="node2" presStyleIdx="3" presStyleCnt="4" custScaleX="127012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6DBE938-79ED-4BB6-B601-50EF87574107}" type="pres">
      <dgm:prSet presAssocID="{27809B1E-ACB5-4EC5-8764-214E4EEC1B00}" presName="rootConnector" presStyleLbl="node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C7C486AB-F20B-4403-937C-53D534A14EF0}" type="pres">
      <dgm:prSet presAssocID="{27809B1E-ACB5-4EC5-8764-214E4EEC1B00}" presName="hierChild4" presStyleCnt="0"/>
      <dgm:spPr/>
    </dgm:pt>
    <dgm:pt modelId="{1DDDFFC9-E5A8-4087-9E95-1FB681DF4CC5}" type="pres">
      <dgm:prSet presAssocID="{F44C7AA9-9F5F-48E8-AEE9-3E681611FE7C}" presName="Name37" presStyleLbl="parChTrans1D3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74B48534-0830-4C78-8D0F-CEB92F1760D5}" type="pres">
      <dgm:prSet presAssocID="{2C31E7C3-114E-4286-84A2-A110F22834EB}" presName="hierRoot2" presStyleCnt="0">
        <dgm:presLayoutVars>
          <dgm:hierBranch val="init"/>
        </dgm:presLayoutVars>
      </dgm:prSet>
      <dgm:spPr/>
    </dgm:pt>
    <dgm:pt modelId="{A1717F5A-B3B3-4867-9B2B-B647838EE0A5}" type="pres">
      <dgm:prSet presAssocID="{2C31E7C3-114E-4286-84A2-A110F22834EB}" presName="rootComposite" presStyleCnt="0"/>
      <dgm:spPr/>
    </dgm:pt>
    <dgm:pt modelId="{5FD5C512-6516-47ED-9F8C-384FE16B7384}" type="pres">
      <dgm:prSet presAssocID="{2C31E7C3-114E-4286-84A2-A110F22834EB}" presName="rootText" presStyleLbl="node3" presStyleIdx="3" presStyleCnt="4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816DE43-F5B9-44F4-96FB-4400224641C9}" type="pres">
      <dgm:prSet presAssocID="{2C31E7C3-114E-4286-84A2-A110F22834EB}" presName="rootConnector" presStyleLbl="node3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9E1CC932-C84B-425A-9CA2-838019215862}" type="pres">
      <dgm:prSet presAssocID="{2C31E7C3-114E-4286-84A2-A110F22834EB}" presName="hierChild4" presStyleCnt="0"/>
      <dgm:spPr/>
    </dgm:pt>
    <dgm:pt modelId="{521233A8-D573-4B60-A683-EDF0D588D1B0}" type="pres">
      <dgm:prSet presAssocID="{0D74438D-83A6-4DFC-B066-5D2EF9276D91}" presName="Name37" presStyleLbl="parChTrans1D4" presStyleIdx="13" presStyleCnt="16"/>
      <dgm:spPr/>
      <dgm:t>
        <a:bodyPr/>
        <a:lstStyle/>
        <a:p>
          <a:pPr latinLnBrk="1"/>
          <a:endParaRPr lang="ko-KR" altLang="en-US"/>
        </a:p>
      </dgm:t>
    </dgm:pt>
    <dgm:pt modelId="{E0BD06EE-5594-42C7-BC30-731DAA94D2BA}" type="pres">
      <dgm:prSet presAssocID="{65DC873E-897D-433D-9120-E4E8252E3464}" presName="hierRoot2" presStyleCnt="0">
        <dgm:presLayoutVars>
          <dgm:hierBranch val="init"/>
        </dgm:presLayoutVars>
      </dgm:prSet>
      <dgm:spPr/>
    </dgm:pt>
    <dgm:pt modelId="{4ED81A1A-C4E5-4301-86B9-350A7D703552}" type="pres">
      <dgm:prSet presAssocID="{65DC873E-897D-433D-9120-E4E8252E3464}" presName="rootComposite" presStyleCnt="0"/>
      <dgm:spPr/>
    </dgm:pt>
    <dgm:pt modelId="{B9693ECF-379B-46F1-BAA8-9600C9A06547}" type="pres">
      <dgm:prSet presAssocID="{65DC873E-897D-433D-9120-E4E8252E3464}" presName="rootText" presStyleLbl="node4" presStyleIdx="13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24F4067-D8BB-48C6-9808-F81F05804206}" type="pres">
      <dgm:prSet presAssocID="{65DC873E-897D-433D-9120-E4E8252E3464}" presName="rootConnector" presStyleLbl="node4" presStyleIdx="13" presStyleCnt="16"/>
      <dgm:spPr/>
      <dgm:t>
        <a:bodyPr/>
        <a:lstStyle/>
        <a:p>
          <a:pPr latinLnBrk="1"/>
          <a:endParaRPr lang="ko-KR" altLang="en-US"/>
        </a:p>
      </dgm:t>
    </dgm:pt>
    <dgm:pt modelId="{5DDC753C-8B00-497E-8252-D334A8C0BC7C}" type="pres">
      <dgm:prSet presAssocID="{65DC873E-897D-433D-9120-E4E8252E3464}" presName="hierChild4" presStyleCnt="0"/>
      <dgm:spPr/>
    </dgm:pt>
    <dgm:pt modelId="{0A103333-E84A-4D61-BD15-939EA6D9D10B}" type="pres">
      <dgm:prSet presAssocID="{65DC873E-897D-433D-9120-E4E8252E3464}" presName="hierChild5" presStyleCnt="0"/>
      <dgm:spPr/>
    </dgm:pt>
    <dgm:pt modelId="{12EC1DF9-C0B9-4358-AD1C-271BC88AAD04}" type="pres">
      <dgm:prSet presAssocID="{9C7F346A-437B-4622-B2CB-A62EDC53B5B1}" presName="Name37" presStyleLbl="parChTrans1D4" presStyleIdx="14" presStyleCnt="16"/>
      <dgm:spPr/>
      <dgm:t>
        <a:bodyPr/>
        <a:lstStyle/>
        <a:p>
          <a:pPr latinLnBrk="1"/>
          <a:endParaRPr lang="ko-KR" altLang="en-US"/>
        </a:p>
      </dgm:t>
    </dgm:pt>
    <dgm:pt modelId="{E5BE6DC1-0A8F-4F72-9252-2DA87A175637}" type="pres">
      <dgm:prSet presAssocID="{39184ACB-53D6-445A-AD12-8D8BCB1587C1}" presName="hierRoot2" presStyleCnt="0">
        <dgm:presLayoutVars>
          <dgm:hierBranch val="init"/>
        </dgm:presLayoutVars>
      </dgm:prSet>
      <dgm:spPr/>
    </dgm:pt>
    <dgm:pt modelId="{43AF2A9B-D83F-4F77-8174-14C30D694409}" type="pres">
      <dgm:prSet presAssocID="{39184ACB-53D6-445A-AD12-8D8BCB1587C1}" presName="rootComposite" presStyleCnt="0"/>
      <dgm:spPr/>
    </dgm:pt>
    <dgm:pt modelId="{45125ABD-33BD-40C4-AB3D-5B2FB9BE1271}" type="pres">
      <dgm:prSet presAssocID="{39184ACB-53D6-445A-AD12-8D8BCB1587C1}" presName="rootText" presStyleLbl="node4" presStyleIdx="14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CBC27F5-F150-43A1-9627-E35936BED7C3}" type="pres">
      <dgm:prSet presAssocID="{39184ACB-53D6-445A-AD12-8D8BCB1587C1}" presName="rootConnector" presStyleLbl="node4" presStyleIdx="14" presStyleCnt="16"/>
      <dgm:spPr/>
      <dgm:t>
        <a:bodyPr/>
        <a:lstStyle/>
        <a:p>
          <a:pPr latinLnBrk="1"/>
          <a:endParaRPr lang="ko-KR" altLang="en-US"/>
        </a:p>
      </dgm:t>
    </dgm:pt>
    <dgm:pt modelId="{0E7C9538-6B6D-483D-9F1F-8CCDFBDE41D4}" type="pres">
      <dgm:prSet presAssocID="{39184ACB-53D6-445A-AD12-8D8BCB1587C1}" presName="hierChild4" presStyleCnt="0"/>
      <dgm:spPr/>
    </dgm:pt>
    <dgm:pt modelId="{E5D9E7E1-66B4-4EB8-9FF5-7C30CA669C72}" type="pres">
      <dgm:prSet presAssocID="{39184ACB-53D6-445A-AD12-8D8BCB1587C1}" presName="hierChild5" presStyleCnt="0"/>
      <dgm:spPr/>
    </dgm:pt>
    <dgm:pt modelId="{13BFD89B-F024-46EC-82CB-922FA2F1BE4E}" type="pres">
      <dgm:prSet presAssocID="{CDF14963-0031-4A51-A5C3-5FFAF5A82E9F}" presName="Name37" presStyleLbl="parChTrans1D4" presStyleIdx="15" presStyleCnt="16"/>
      <dgm:spPr/>
      <dgm:t>
        <a:bodyPr/>
        <a:lstStyle/>
        <a:p>
          <a:pPr latinLnBrk="1"/>
          <a:endParaRPr lang="ko-KR" altLang="en-US"/>
        </a:p>
      </dgm:t>
    </dgm:pt>
    <dgm:pt modelId="{B1AF9ECA-69F6-4BAC-89F7-85280CE6785C}" type="pres">
      <dgm:prSet presAssocID="{E35C69FE-8821-4D81-88AA-42C379C36929}" presName="hierRoot2" presStyleCnt="0">
        <dgm:presLayoutVars>
          <dgm:hierBranch val="init"/>
        </dgm:presLayoutVars>
      </dgm:prSet>
      <dgm:spPr/>
    </dgm:pt>
    <dgm:pt modelId="{F8F118DC-5D29-4B48-B127-2D2520A38F69}" type="pres">
      <dgm:prSet presAssocID="{E35C69FE-8821-4D81-88AA-42C379C36929}" presName="rootComposite" presStyleCnt="0"/>
      <dgm:spPr/>
    </dgm:pt>
    <dgm:pt modelId="{27581EA2-D022-49F0-8DFE-F2E741585E66}" type="pres">
      <dgm:prSet presAssocID="{E35C69FE-8821-4D81-88AA-42C379C36929}" presName="rootText" presStyleLbl="node4" presStyleIdx="15" presStyleCnt="16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DFF8F46-91E3-41A5-AE46-734B03F58C00}" type="pres">
      <dgm:prSet presAssocID="{E35C69FE-8821-4D81-88AA-42C379C36929}" presName="rootConnector" presStyleLbl="node4" presStyleIdx="15" presStyleCnt="16"/>
      <dgm:spPr/>
      <dgm:t>
        <a:bodyPr/>
        <a:lstStyle/>
        <a:p>
          <a:pPr latinLnBrk="1"/>
          <a:endParaRPr lang="ko-KR" altLang="en-US"/>
        </a:p>
      </dgm:t>
    </dgm:pt>
    <dgm:pt modelId="{66355B54-B227-4E62-891B-13B39B3781DA}" type="pres">
      <dgm:prSet presAssocID="{E35C69FE-8821-4D81-88AA-42C379C36929}" presName="hierChild4" presStyleCnt="0"/>
      <dgm:spPr/>
    </dgm:pt>
    <dgm:pt modelId="{0FCCB5A1-490D-45CB-8170-FC1AFCB66555}" type="pres">
      <dgm:prSet presAssocID="{E35C69FE-8821-4D81-88AA-42C379C36929}" presName="hierChild5" presStyleCnt="0"/>
      <dgm:spPr/>
    </dgm:pt>
    <dgm:pt modelId="{018ED94A-44C2-4EE1-A693-1CE607805FA0}" type="pres">
      <dgm:prSet presAssocID="{2C31E7C3-114E-4286-84A2-A110F22834EB}" presName="hierChild5" presStyleCnt="0"/>
      <dgm:spPr/>
    </dgm:pt>
    <dgm:pt modelId="{CF1DE82E-D3F6-45EB-9840-D791AA4DE707}" type="pres">
      <dgm:prSet presAssocID="{27809B1E-ACB5-4EC5-8764-214E4EEC1B00}" presName="hierChild5" presStyleCnt="0"/>
      <dgm:spPr/>
    </dgm:pt>
    <dgm:pt modelId="{37666F81-7E92-4D67-932F-6A797ACDBA5C}" type="pres">
      <dgm:prSet presAssocID="{29B11A98-9D33-4B61-A1C4-0BD1F530C062}" presName="hierChild3" presStyleCnt="0"/>
      <dgm:spPr/>
    </dgm:pt>
  </dgm:ptLst>
  <dgm:cxnLst>
    <dgm:cxn modelId="{1EE7F94F-E705-4D3D-B673-151DC2FF4E59}" type="presOf" srcId="{D17AFCDF-A84F-42C7-9568-98E7765CC252}" destId="{5AEC8923-A78B-4727-9ED7-DE90C1D72093}" srcOrd="0" destOrd="0" presId="urn:microsoft.com/office/officeart/2005/8/layout/orgChart1"/>
    <dgm:cxn modelId="{39801674-90FC-42AB-96E2-29EA19E669DC}" srcId="{D17AFCDF-A84F-42C7-9568-98E7765CC252}" destId="{D0E7357C-0F89-42A3-ACC2-97DE8F12497B}" srcOrd="0" destOrd="0" parTransId="{26FD6AAE-BB93-465D-A3ED-F3202652F5DE}" sibTransId="{CB72FC68-595B-4EA7-BFE7-B5DF638B56D7}"/>
    <dgm:cxn modelId="{5669BD61-E99A-4A67-8563-ECD6D09060F7}" type="presOf" srcId="{CDF14963-0031-4A51-A5C3-5FFAF5A82E9F}" destId="{13BFD89B-F024-46EC-82CB-922FA2F1BE4E}" srcOrd="0" destOrd="0" presId="urn:microsoft.com/office/officeart/2005/8/layout/orgChart1"/>
    <dgm:cxn modelId="{6E3C7434-3BA8-4412-9E96-CB406ECDF7DA}" type="presOf" srcId="{29B11A98-9D33-4B61-A1C4-0BD1F530C062}" destId="{970D5FEC-0549-4E44-BEF7-3C055DD5E0EB}" srcOrd="1" destOrd="0" presId="urn:microsoft.com/office/officeart/2005/8/layout/orgChart1"/>
    <dgm:cxn modelId="{A8C71D96-C6E7-413D-BD33-5B9CA0DEA40F}" type="presOf" srcId="{F93C97F4-BFB9-4CC0-9E4E-8D85C7FC5B0C}" destId="{E3F6FB8C-F2C7-4BA2-AA1B-64E02C01B378}" srcOrd="0" destOrd="0" presId="urn:microsoft.com/office/officeart/2005/8/layout/orgChart1"/>
    <dgm:cxn modelId="{BE175AF7-DEA1-4C75-B203-CD93B976F677}" type="presOf" srcId="{21F71D55-FCFB-467E-8E5A-CAC10206FCAF}" destId="{CFA457B9-E94F-4F6F-B751-2A6B4884602F}" srcOrd="1" destOrd="0" presId="urn:microsoft.com/office/officeart/2005/8/layout/orgChart1"/>
    <dgm:cxn modelId="{DD691126-6990-4B92-ACD1-0CC7B2D7028A}" srcId="{2C31E7C3-114E-4286-84A2-A110F22834EB}" destId="{39184ACB-53D6-445A-AD12-8D8BCB1587C1}" srcOrd="1" destOrd="0" parTransId="{9C7F346A-437B-4622-B2CB-A62EDC53B5B1}" sibTransId="{64F6FEC0-E786-497E-BD1C-385894A5C863}"/>
    <dgm:cxn modelId="{67F9D403-A31E-4F32-8236-16823029251F}" type="presOf" srcId="{FE4C2277-3322-4A9A-A65D-A29A82815C0B}" destId="{698508D6-C93E-4E49-A7B9-B4DA6FBDF86C}" srcOrd="0" destOrd="0" presId="urn:microsoft.com/office/officeart/2005/8/layout/orgChart1"/>
    <dgm:cxn modelId="{BE7C66BD-C50F-43BC-BA8E-262950B8CC65}" srcId="{A508D72F-BE81-403F-8B18-3E4E4D4A58FB}" destId="{7130CA5C-7CC0-4772-9E3B-3CDE0018E3EC}" srcOrd="1" destOrd="0" parTransId="{9615D82F-35E6-4EB3-ADB9-1621753020B7}" sibTransId="{50997AB1-BE3B-4AD9-B64D-82A66B945085}"/>
    <dgm:cxn modelId="{04B64535-A654-4CEA-BDF9-08A6DDDF3118}" type="presOf" srcId="{2C31E7C3-114E-4286-84A2-A110F22834EB}" destId="{B816DE43-F5B9-44F4-96FB-4400224641C9}" srcOrd="1" destOrd="0" presId="urn:microsoft.com/office/officeart/2005/8/layout/orgChart1"/>
    <dgm:cxn modelId="{3449740D-BD9F-4CB3-8A4B-EA1B1B34E460}" type="presOf" srcId="{EDD8AAAA-92FE-4498-830A-5A9787ED36D9}" destId="{331F420B-6220-4553-B12C-D8A16684D2A0}" srcOrd="0" destOrd="0" presId="urn:microsoft.com/office/officeart/2005/8/layout/orgChart1"/>
    <dgm:cxn modelId="{3DB386AB-48FF-4BBF-A451-DDD838D25B89}" type="presOf" srcId="{16CFFC99-9FC8-48B6-901B-664BBBB409D2}" destId="{25490263-AA39-456D-B8BE-13FAC661C19E}" srcOrd="0" destOrd="0" presId="urn:microsoft.com/office/officeart/2005/8/layout/orgChart1"/>
    <dgm:cxn modelId="{E02974B7-F20F-496B-B16E-B4CF371F41CC}" type="presOf" srcId="{26FD6AAE-BB93-465D-A3ED-F3202652F5DE}" destId="{32A11FE5-1E99-4AA1-95A6-D2087475E7BF}" srcOrd="0" destOrd="0" presId="urn:microsoft.com/office/officeart/2005/8/layout/orgChart1"/>
    <dgm:cxn modelId="{A0195AB5-56ED-47D5-9F4E-E1D319A43AA7}" type="presOf" srcId="{A7841DCF-985E-4315-8A88-049275F106D7}" destId="{00C1FD16-2F46-47BB-BF0F-C1D434EB35EE}" srcOrd="0" destOrd="0" presId="urn:microsoft.com/office/officeart/2005/8/layout/orgChart1"/>
    <dgm:cxn modelId="{E80BDD33-13D8-473A-95D0-399B314A1D0C}" type="presOf" srcId="{29B11A98-9D33-4B61-A1C4-0BD1F530C062}" destId="{5197FF8D-FC58-4291-A413-97D4B3FFC8DA}" srcOrd="0" destOrd="0" presId="urn:microsoft.com/office/officeart/2005/8/layout/orgChart1"/>
    <dgm:cxn modelId="{5EAAADCA-6EBC-4676-B8FF-E0AF978A268C}" type="presOf" srcId="{65DC873E-897D-433D-9120-E4E8252E3464}" destId="{424F4067-D8BB-48C6-9808-F81F05804206}" srcOrd="1" destOrd="0" presId="urn:microsoft.com/office/officeart/2005/8/layout/orgChart1"/>
    <dgm:cxn modelId="{94D669C2-87A3-445A-B2B3-23942F17D0D0}" type="presOf" srcId="{60CBB08E-EF13-4941-91EA-CE35D6A9BC7C}" destId="{65C0A499-92EB-45F2-949A-1B73F4D033F2}" srcOrd="0" destOrd="0" presId="urn:microsoft.com/office/officeart/2005/8/layout/orgChart1"/>
    <dgm:cxn modelId="{B5EB707F-FD0B-4472-83C8-6E4396CC9E0C}" type="presOf" srcId="{8E4C77DF-E3F9-430C-930D-187C7A3C61E9}" destId="{7B4C0C91-16B1-433B-8211-E67D9939B331}" srcOrd="1" destOrd="0" presId="urn:microsoft.com/office/officeart/2005/8/layout/orgChart1"/>
    <dgm:cxn modelId="{DEBB6617-B541-47A6-9D5A-0AD80DE5A64C}" type="presOf" srcId="{3CC58F7F-98F9-4AED-BB13-A65BDD0646EB}" destId="{7A2DCF16-4793-4F62-8615-1A86A0383840}" srcOrd="0" destOrd="0" presId="urn:microsoft.com/office/officeart/2005/8/layout/orgChart1"/>
    <dgm:cxn modelId="{412CDBDA-3ADC-409D-BFE6-82B03096B257}" type="presOf" srcId="{73386C65-C094-48CF-87A9-FF1C7BA19C92}" destId="{26805636-D31E-43BA-8879-D61E1A01CD81}" srcOrd="1" destOrd="0" presId="urn:microsoft.com/office/officeart/2005/8/layout/orgChart1"/>
    <dgm:cxn modelId="{9540FF4E-76A1-4F79-92BD-F2E3ECD43926}" type="presOf" srcId="{0D74438D-83A6-4DFC-B066-5D2EF9276D91}" destId="{521233A8-D573-4B60-A683-EDF0D588D1B0}" srcOrd="0" destOrd="0" presId="urn:microsoft.com/office/officeart/2005/8/layout/orgChart1"/>
    <dgm:cxn modelId="{5FF6293E-36FB-4BB3-9D02-9A9D12DFDD95}" type="presOf" srcId="{50CF7D8C-7ED1-4102-8347-F71CA316740F}" destId="{7E3A5B43-1594-4AEF-A8C9-9DDF3845EB77}" srcOrd="0" destOrd="0" presId="urn:microsoft.com/office/officeart/2005/8/layout/orgChart1"/>
    <dgm:cxn modelId="{2DDDE7FB-8642-443A-8FCC-8E852824C141}" srcId="{29B11A98-9D33-4B61-A1C4-0BD1F530C062}" destId="{27809B1E-ACB5-4EC5-8764-214E4EEC1B00}" srcOrd="3" destOrd="0" parTransId="{DB071331-65AC-4F4B-88A1-73AB9E168912}" sibTransId="{E13D3EDC-40B0-463F-B6CC-18DD77830A21}"/>
    <dgm:cxn modelId="{A9CBD8E3-3A35-44A1-BE90-7BCD65ABEEF8}" type="presOf" srcId="{39184ACB-53D6-445A-AD12-8D8BCB1587C1}" destId="{45125ABD-33BD-40C4-AB3D-5B2FB9BE1271}" srcOrd="0" destOrd="0" presId="urn:microsoft.com/office/officeart/2005/8/layout/orgChart1"/>
    <dgm:cxn modelId="{AD6C45D8-7523-4C66-8C36-BB74DBC5C37C}" type="presOf" srcId="{E35C69FE-8821-4D81-88AA-42C379C36929}" destId="{27581EA2-D022-49F0-8DFE-F2E741585E66}" srcOrd="0" destOrd="0" presId="urn:microsoft.com/office/officeart/2005/8/layout/orgChart1"/>
    <dgm:cxn modelId="{F31C63A5-3640-4448-9034-77D33AF08916}" type="presOf" srcId="{73386C65-C094-48CF-87A9-FF1C7BA19C92}" destId="{0CEF3506-6E37-4655-993C-7C8FD251AC4E}" srcOrd="0" destOrd="0" presId="urn:microsoft.com/office/officeart/2005/8/layout/orgChart1"/>
    <dgm:cxn modelId="{5C668A27-0896-43EC-9B7C-56D91B3B41F1}" srcId="{AF3E9BD3-BBF8-47F9-9C1B-0349D236F3D7}" destId="{29B11A98-9D33-4B61-A1C4-0BD1F530C062}" srcOrd="0" destOrd="0" parTransId="{20619E98-0026-4190-8EED-D055608813CA}" sibTransId="{E8B20800-3E57-47DA-A3C1-8C60357C4E1C}"/>
    <dgm:cxn modelId="{48F16EB4-DADF-4EEC-9088-BA9CB3229E92}" srcId="{2C31E7C3-114E-4286-84A2-A110F22834EB}" destId="{65DC873E-897D-433D-9120-E4E8252E3464}" srcOrd="0" destOrd="0" parTransId="{0D74438D-83A6-4DFC-B066-5D2EF9276D91}" sibTransId="{8CFBC1B8-A400-4DE1-87B4-C8F41478FFA2}"/>
    <dgm:cxn modelId="{5FD34BC8-530C-465A-9EA0-DFA18158B12B}" type="presOf" srcId="{2CF8B66D-8174-4BE4-B419-64DC77D94A8C}" destId="{FBAD4223-2F15-4A1F-8B72-E4CEE4217AF4}" srcOrd="1" destOrd="0" presId="urn:microsoft.com/office/officeart/2005/8/layout/orgChart1"/>
    <dgm:cxn modelId="{532B0885-89D5-482C-983B-E3F8850342DB}" srcId="{0D3039E0-1F69-4B7D-8F76-2E7447C24984}" destId="{73386C65-C094-48CF-87A9-FF1C7BA19C92}" srcOrd="0" destOrd="0" parTransId="{A7841DCF-985E-4315-8A88-049275F106D7}" sibTransId="{3EE5A89D-8A2A-4A31-A93C-171303DBEB8D}"/>
    <dgm:cxn modelId="{D987F9DF-14D4-4F65-91BE-320D54F40F40}" srcId="{2CF8B66D-8174-4BE4-B419-64DC77D94A8C}" destId="{14A813EF-3B6D-4FC8-B6BA-F6D1ECBB162C}" srcOrd="0" destOrd="0" parTransId="{EDD8AAAA-92FE-4498-830A-5A9787ED36D9}" sibTransId="{F9AA9205-A764-46FF-B68A-E53AF1C2D37B}"/>
    <dgm:cxn modelId="{14607819-A3F6-4DC9-A49B-3F8891ADE016}" type="presOf" srcId="{F44C7AA9-9F5F-48E8-AEE9-3E681611FE7C}" destId="{1DDDFFC9-E5A8-4087-9E95-1FB681DF4CC5}" srcOrd="0" destOrd="0" presId="urn:microsoft.com/office/officeart/2005/8/layout/orgChart1"/>
    <dgm:cxn modelId="{ABFCDF0D-7484-4881-850C-C61B15AE5610}" type="presOf" srcId="{CD227199-C43A-4F07-9B9C-31B36AAC1E4A}" destId="{0ECCA110-0304-4EDB-B7BA-75C9F8AEED00}" srcOrd="0" destOrd="0" presId="urn:microsoft.com/office/officeart/2005/8/layout/orgChart1"/>
    <dgm:cxn modelId="{CC6C5722-C75E-49D6-B64F-3BBA9017777E}" srcId="{2CF8B66D-8174-4BE4-B419-64DC77D94A8C}" destId="{331E408A-A070-48FD-A9DE-A58A8B93FD28}" srcOrd="1" destOrd="0" parTransId="{05DF8F43-93AE-4EA4-A607-AF8A8BA5D19C}" sibTransId="{439C0668-DC41-4EEA-9115-4650E1FD0C1D}"/>
    <dgm:cxn modelId="{767F81E6-C29D-400A-8CC7-A8499A477AB2}" type="presOf" srcId="{D9100671-4CB5-4820-B7B4-4B271219FE40}" destId="{EB94A250-EE4C-4630-9677-2500B1056E16}" srcOrd="1" destOrd="0" presId="urn:microsoft.com/office/officeart/2005/8/layout/orgChart1"/>
    <dgm:cxn modelId="{7A8A90C3-D2CB-4224-815B-3317CE5391EF}" type="presOf" srcId="{40FF39DC-82F8-41CA-B7B9-CC56D9A5B34B}" destId="{09CA3129-8B94-4B14-958F-A7CA4D18A9B9}" srcOrd="0" destOrd="0" presId="urn:microsoft.com/office/officeart/2005/8/layout/orgChart1"/>
    <dgm:cxn modelId="{2F04C5BF-5860-4AC0-95A6-43066A489E59}" type="presOf" srcId="{14A813EF-3B6D-4FC8-B6BA-F6D1ECBB162C}" destId="{BC4DFC15-38D5-41CC-8E68-75EBB547D8BC}" srcOrd="0" destOrd="0" presId="urn:microsoft.com/office/officeart/2005/8/layout/orgChart1"/>
    <dgm:cxn modelId="{D34738D7-3CC4-468F-9C26-6FB346A6A4AD}" type="presOf" srcId="{60CBB08E-EF13-4941-91EA-CE35D6A9BC7C}" destId="{98E166B0-531E-43B7-8A97-C6036663D8E6}" srcOrd="1" destOrd="0" presId="urn:microsoft.com/office/officeart/2005/8/layout/orgChart1"/>
    <dgm:cxn modelId="{11C107DB-2C5B-490B-9FAC-970FD6F43FAD}" type="presOf" srcId="{D9100671-4CB5-4820-B7B4-4B271219FE40}" destId="{366FD547-57D6-420F-8969-85C85847F670}" srcOrd="0" destOrd="0" presId="urn:microsoft.com/office/officeart/2005/8/layout/orgChart1"/>
    <dgm:cxn modelId="{5C5BAE57-A7E3-4AB0-9B18-44FCC4EDDC25}" type="presOf" srcId="{9615D82F-35E6-4EB3-ADB9-1621753020B7}" destId="{488475D6-E3DE-4760-98DF-A2058EFA7AA4}" srcOrd="0" destOrd="0" presId="urn:microsoft.com/office/officeart/2005/8/layout/orgChart1"/>
    <dgm:cxn modelId="{37BDCBA4-2F04-4DA5-8BF0-E3076D2F1E56}" type="presOf" srcId="{50CF7D8C-7ED1-4102-8347-F71CA316740F}" destId="{A814F93A-BA38-4945-8DB7-3A338E9C09C0}" srcOrd="1" destOrd="0" presId="urn:microsoft.com/office/officeart/2005/8/layout/orgChart1"/>
    <dgm:cxn modelId="{12E97946-FE52-4278-84E3-5EA2D913741D}" type="presOf" srcId="{8F47B722-8C74-4E42-959D-B200DD9A0423}" destId="{8A7301E4-6839-4A0B-BBD5-6C11DD40797D}" srcOrd="0" destOrd="0" presId="urn:microsoft.com/office/officeart/2005/8/layout/orgChart1"/>
    <dgm:cxn modelId="{A3EEB189-9D7A-4A00-92C1-08F3A01D6DE9}" srcId="{D9100671-4CB5-4820-B7B4-4B271219FE40}" destId="{A508D72F-BE81-403F-8B18-3E4E4D4A58FB}" srcOrd="0" destOrd="0" parTransId="{905BB1F3-EB85-4C67-9B4B-D8FCD959CE3F}" sibTransId="{AD63F243-4A0E-4266-8204-A29A4E3581F4}"/>
    <dgm:cxn modelId="{C5088720-1B64-4BDE-AB0B-ABD4AFB1171C}" type="presOf" srcId="{29DD73ED-3BDB-4C52-853A-36FC0EA20AF7}" destId="{6DF3FE2B-F1DA-4413-8913-2B9E5EE9BE1A}" srcOrd="0" destOrd="0" presId="urn:microsoft.com/office/officeart/2005/8/layout/orgChart1"/>
    <dgm:cxn modelId="{4F907C52-3D01-4A0D-8C07-1B6296CB93F0}" type="presOf" srcId="{0D3039E0-1F69-4B7D-8F76-2E7447C24984}" destId="{03DFBC13-575B-44C5-9411-8C49A89188ED}" srcOrd="1" destOrd="0" presId="urn:microsoft.com/office/officeart/2005/8/layout/orgChart1"/>
    <dgm:cxn modelId="{45562B44-31F1-45E7-B39C-72249ACE83F5}" type="presOf" srcId="{01D388E7-1A65-41B1-B0F3-C1E8B9DFB691}" destId="{23F6EC11-8BB0-4EB2-9B75-2CB751E9AFFE}" srcOrd="1" destOrd="0" presId="urn:microsoft.com/office/officeart/2005/8/layout/orgChart1"/>
    <dgm:cxn modelId="{B13E8F54-52FF-44C9-A591-F6889F12F638}" type="presOf" srcId="{D0E7357C-0F89-42A3-ACC2-97DE8F12497B}" destId="{F8054045-13C6-4793-90B2-93AE757394FE}" srcOrd="1" destOrd="0" presId="urn:microsoft.com/office/officeart/2005/8/layout/orgChart1"/>
    <dgm:cxn modelId="{1577FBAE-D75C-44DD-8142-516B95D8BB65}" type="presOf" srcId="{A508D72F-BE81-403F-8B18-3E4E4D4A58FB}" destId="{DBB318E6-0EF9-497A-8A98-B81193AEB0FD}" srcOrd="0" destOrd="0" presId="urn:microsoft.com/office/officeart/2005/8/layout/orgChart1"/>
    <dgm:cxn modelId="{2EFE1E1B-BBD4-4773-8F14-B5FF4388680C}" type="presOf" srcId="{A2BBF0A5-5D1A-41EE-AB12-B4A3B11631DD}" destId="{79951B95-0E1F-497F-9215-D04A2A4B1CE9}" srcOrd="0" destOrd="0" presId="urn:microsoft.com/office/officeart/2005/8/layout/orgChart1"/>
    <dgm:cxn modelId="{C5A3C4A0-D0A3-426D-B8FC-C16F63D7DF4B}" srcId="{0D3039E0-1F69-4B7D-8F76-2E7447C24984}" destId="{8E4C77DF-E3F9-430C-930D-187C7A3C61E9}" srcOrd="1" destOrd="0" parTransId="{478606B2-7B53-4BD8-844D-EEA3A0C26CC1}" sibTransId="{B59C409E-C022-4C02-B7E6-8962D2DF2EFD}"/>
    <dgm:cxn modelId="{0EA41B11-F093-412C-8BA9-E57CC1319993}" type="presOf" srcId="{2C31E7C3-114E-4286-84A2-A110F22834EB}" destId="{5FD5C512-6516-47ED-9F8C-384FE16B7384}" srcOrd="0" destOrd="0" presId="urn:microsoft.com/office/officeart/2005/8/layout/orgChart1"/>
    <dgm:cxn modelId="{535B43BD-B56B-458B-9755-14C52B2C6544}" type="presOf" srcId="{7130CA5C-7CC0-4772-9E3B-3CDE0018E3EC}" destId="{9195AFD7-D022-4BF3-9130-0EF9C2B882B3}" srcOrd="1" destOrd="0" presId="urn:microsoft.com/office/officeart/2005/8/layout/orgChart1"/>
    <dgm:cxn modelId="{80B7E52E-0F16-4EC7-A7ED-6F0F7B0B7AA7}" type="presOf" srcId="{E35C69FE-8821-4D81-88AA-42C379C36929}" destId="{1DFF8F46-91E3-41A5-AE46-734B03F58C00}" srcOrd="1" destOrd="0" presId="urn:microsoft.com/office/officeart/2005/8/layout/orgChart1"/>
    <dgm:cxn modelId="{3464B9FA-FA54-4B66-959A-7509EEA24490}" srcId="{27809B1E-ACB5-4EC5-8764-214E4EEC1B00}" destId="{2C31E7C3-114E-4286-84A2-A110F22834EB}" srcOrd="0" destOrd="0" parTransId="{F44C7AA9-9F5F-48E8-AEE9-3E681611FE7C}" sibTransId="{8C356CC7-8B81-417D-A9D2-F9B28D77A969}"/>
    <dgm:cxn modelId="{1426E032-F01D-46FE-8674-C89293DC5D1E}" srcId="{01D388E7-1A65-41B1-B0F3-C1E8B9DFB691}" destId="{40FF39DC-82F8-41CA-B7B9-CC56D9A5B34B}" srcOrd="0" destOrd="0" parTransId="{16CFFC99-9FC8-48B6-901B-664BBBB409D2}" sibTransId="{64E9D940-0D52-4098-8436-5E2DDB56F059}"/>
    <dgm:cxn modelId="{12C8397F-D908-4A4E-B8B1-A69CFEC3AAF8}" type="presOf" srcId="{331E408A-A070-48FD-A9DE-A58A8B93FD28}" destId="{9CDAB95E-10AC-4D07-9777-6AC18071A7DA}" srcOrd="0" destOrd="0" presId="urn:microsoft.com/office/officeart/2005/8/layout/orgChart1"/>
    <dgm:cxn modelId="{E0A014D0-84C4-4158-BA98-E14FC7CBC25B}" srcId="{60CBB08E-EF13-4941-91EA-CE35D6A9BC7C}" destId="{2CF8B66D-8174-4BE4-B419-64DC77D94A8C}" srcOrd="0" destOrd="0" parTransId="{266BBE48-F423-4813-B0B4-D043CA72629D}" sibTransId="{430A65F5-7990-42BD-9FA4-31BBB54D3288}"/>
    <dgm:cxn modelId="{A009B698-9B16-41F8-9BE8-D3CC7E4534CA}" srcId="{50CF7D8C-7ED1-4102-8347-F71CA316740F}" destId="{60CBB08E-EF13-4941-91EA-CE35D6A9BC7C}" srcOrd="0" destOrd="0" parTransId="{B01CBABA-8942-409E-8096-D3A4E82429D2}" sibTransId="{87171398-A037-4F85-B3C0-77F965A19C2A}"/>
    <dgm:cxn modelId="{0CC164DB-CFBE-492E-8603-60C20E6D9455}" srcId="{29B11A98-9D33-4B61-A1C4-0BD1F530C062}" destId="{D17AFCDF-A84F-42C7-9568-98E7765CC252}" srcOrd="0" destOrd="0" parTransId="{85C7D48A-DFF2-4084-80F0-1CF3758EFDF3}" sibTransId="{1551EB1F-4DBE-45B7-AC97-98C798222F40}"/>
    <dgm:cxn modelId="{2905922E-C3E4-454B-9B73-EF61C3B66562}" srcId="{14A813EF-3B6D-4FC8-B6BA-F6D1ECBB162C}" destId="{21F71D55-FCFB-467E-8E5A-CAC10206FCAF}" srcOrd="1" destOrd="0" parTransId="{A1F7BA2B-0B6E-4238-A50C-9B67356B415C}" sibTransId="{2E0A1520-B64A-4508-AFCE-AFA7DA358CB6}"/>
    <dgm:cxn modelId="{7CEFDD41-E817-454A-839D-B87573164B41}" type="presOf" srcId="{331E408A-A070-48FD-A9DE-A58A8B93FD28}" destId="{8B8AF4BD-CBE0-4CA5-833C-440BE0FDA61B}" srcOrd="1" destOrd="0" presId="urn:microsoft.com/office/officeart/2005/8/layout/orgChart1"/>
    <dgm:cxn modelId="{76D73CF5-652D-4DCF-96C2-18D04FC53887}" type="presOf" srcId="{0D3039E0-1F69-4B7D-8F76-2E7447C24984}" destId="{1B6B3A2C-2B86-46D8-8C2F-D122B2AA83BF}" srcOrd="0" destOrd="0" presId="urn:microsoft.com/office/officeart/2005/8/layout/orgChart1"/>
    <dgm:cxn modelId="{2097B25A-6D22-43CD-8685-D37C4BA456F4}" type="presOf" srcId="{D17AFCDF-A84F-42C7-9568-98E7765CC252}" destId="{BAAD8B09-C8BE-4781-80CB-CD68113FA53E}" srcOrd="1" destOrd="0" presId="urn:microsoft.com/office/officeart/2005/8/layout/orgChart1"/>
    <dgm:cxn modelId="{06D61C3A-4829-407D-8EC8-596E22A13CEE}" type="presOf" srcId="{AF3E9BD3-BBF8-47F9-9C1B-0349D236F3D7}" destId="{398E9BCF-C768-462A-9BB8-E58EF94C9791}" srcOrd="0" destOrd="0" presId="urn:microsoft.com/office/officeart/2005/8/layout/orgChart1"/>
    <dgm:cxn modelId="{29647317-D4E7-4FD3-9889-09C23AC2B6BD}" srcId="{14A813EF-3B6D-4FC8-B6BA-F6D1ECBB162C}" destId="{C88E93D3-DC8B-49C4-9469-921571AF18CD}" srcOrd="0" destOrd="0" parTransId="{ADACB42D-BC5B-43E8-BA83-A55BBB84C39D}" sibTransId="{5A57B4ED-3684-4A35-935F-CF1EFD3446E1}"/>
    <dgm:cxn modelId="{3E40A614-5A51-49B8-A31C-AFF38FDFC3EF}" type="presOf" srcId="{7130CA5C-7CC0-4772-9E3B-3CDE0018E3EC}" destId="{4102933D-B9FD-4622-B378-F0338B27DB23}" srcOrd="0" destOrd="0" presId="urn:microsoft.com/office/officeart/2005/8/layout/orgChart1"/>
    <dgm:cxn modelId="{D662C907-0162-40AD-8466-F1C2AD9E9A76}" srcId="{29B11A98-9D33-4B61-A1C4-0BD1F530C062}" destId="{8F47B722-8C74-4E42-959D-B200DD9A0423}" srcOrd="1" destOrd="0" parTransId="{F93C97F4-BFB9-4CC0-9E4E-8D85C7FC5B0C}" sibTransId="{2828F8D8-B92D-4B85-882F-546C78C90802}"/>
    <dgm:cxn modelId="{6D87870A-BA3D-4B96-B32E-7B15A374F297}" type="presOf" srcId="{01D388E7-1A65-41B1-B0F3-C1E8B9DFB691}" destId="{14C0F6B3-7708-4CAD-B8EC-E9A689648763}" srcOrd="0" destOrd="0" presId="urn:microsoft.com/office/officeart/2005/8/layout/orgChart1"/>
    <dgm:cxn modelId="{B2BA69B5-973A-4E02-B4C3-96F45CC0E7E7}" type="presOf" srcId="{65DC873E-897D-433D-9120-E4E8252E3464}" destId="{B9693ECF-379B-46F1-BAA8-9600C9A06547}" srcOrd="0" destOrd="0" presId="urn:microsoft.com/office/officeart/2005/8/layout/orgChart1"/>
    <dgm:cxn modelId="{3F47BEB0-F541-4967-A31E-B1D002F38098}" type="presOf" srcId="{27809B1E-ACB5-4EC5-8764-214E4EEC1B00}" destId="{F6DBE938-79ED-4BB6-B601-50EF87574107}" srcOrd="1" destOrd="0" presId="urn:microsoft.com/office/officeart/2005/8/layout/orgChart1"/>
    <dgm:cxn modelId="{6D562BA2-F893-4308-9003-3507D6ACFBB6}" type="presOf" srcId="{14A813EF-3B6D-4FC8-B6BA-F6D1ECBB162C}" destId="{226480DA-D004-4E2D-86B6-AA75876EE6A5}" srcOrd="1" destOrd="0" presId="urn:microsoft.com/office/officeart/2005/8/layout/orgChart1"/>
    <dgm:cxn modelId="{B427C74E-DB8C-4D9E-8FD8-391B5916A5C3}" srcId="{A508D72F-BE81-403F-8B18-3E4E4D4A58FB}" destId="{A2BBF0A5-5D1A-41EE-AB12-B4A3B11631DD}" srcOrd="0" destOrd="0" parTransId="{CD227199-C43A-4F07-9B9C-31B36AAC1E4A}" sibTransId="{C0B5D947-6E70-48D4-B1DF-47A9A5FDA632}"/>
    <dgm:cxn modelId="{9391E4D2-AFBF-4F8E-BF88-9C966155AF81}" type="presOf" srcId="{ADACB42D-BC5B-43E8-BA83-A55BBB84C39D}" destId="{F661A9E4-35A6-43C0-AA52-081AC41A5F9E}" srcOrd="0" destOrd="0" presId="urn:microsoft.com/office/officeart/2005/8/layout/orgChart1"/>
    <dgm:cxn modelId="{5E3804EF-67B2-497D-A58A-2C398015D9D3}" srcId="{8F47B722-8C74-4E42-959D-B200DD9A0423}" destId="{01D388E7-1A65-41B1-B0F3-C1E8B9DFB691}" srcOrd="0" destOrd="0" parTransId="{29DD73ED-3BDB-4C52-853A-36FC0EA20AF7}" sibTransId="{81ADB565-FA05-4214-A206-8AD5296249CC}"/>
    <dgm:cxn modelId="{33135F75-471F-49BD-BD91-742EF8070932}" type="presOf" srcId="{905BB1F3-EB85-4C67-9B4B-D8FCD959CE3F}" destId="{2D029B3C-3925-4BAB-B7CE-DDBF143FAE99}" srcOrd="0" destOrd="0" presId="urn:microsoft.com/office/officeart/2005/8/layout/orgChart1"/>
    <dgm:cxn modelId="{43B24F7A-E360-4142-93D1-E4FD4CEAB1C5}" type="presOf" srcId="{8F47B722-8C74-4E42-959D-B200DD9A0423}" destId="{FF0CBA67-A219-4313-B4DC-C4682C06DE52}" srcOrd="1" destOrd="0" presId="urn:microsoft.com/office/officeart/2005/8/layout/orgChart1"/>
    <dgm:cxn modelId="{DA5C012F-038F-4CA0-8FB8-C740E7C9DA0F}" srcId="{2C31E7C3-114E-4286-84A2-A110F22834EB}" destId="{E35C69FE-8821-4D81-88AA-42C379C36929}" srcOrd="2" destOrd="0" parTransId="{CDF14963-0031-4A51-A5C3-5FFAF5A82E9F}" sibTransId="{6B53EF74-0FEA-4CCA-8688-8CC2824417A4}"/>
    <dgm:cxn modelId="{5CA8A15D-E720-4C5E-BF99-0204D519C048}" type="presOf" srcId="{1161B3C3-4CC8-4D03-9228-213AB69E18C5}" destId="{E68009D5-0F24-495C-B17E-71B0D4EE1A02}" srcOrd="0" destOrd="0" presId="urn:microsoft.com/office/officeart/2005/8/layout/orgChart1"/>
    <dgm:cxn modelId="{3AFEB226-0649-43B9-A854-0305CF04459B}" type="presOf" srcId="{C88E93D3-DC8B-49C4-9469-921571AF18CD}" destId="{77C7AA31-4D9B-4EB0-A820-70CCF7589E7C}" srcOrd="1" destOrd="0" presId="urn:microsoft.com/office/officeart/2005/8/layout/orgChart1"/>
    <dgm:cxn modelId="{C30B8373-8B2B-43CD-BF87-8735C795A0C2}" type="presOf" srcId="{B01CBABA-8942-409E-8096-D3A4E82429D2}" destId="{DFCF65C2-1D4E-4203-8483-263873D3B705}" srcOrd="0" destOrd="0" presId="urn:microsoft.com/office/officeart/2005/8/layout/orgChart1"/>
    <dgm:cxn modelId="{D897E0A2-D0F3-4CC0-A42A-11C500FC71B3}" type="presOf" srcId="{27809B1E-ACB5-4EC5-8764-214E4EEC1B00}" destId="{F64A5C08-9C7D-4E71-AB14-8CF1F43E6643}" srcOrd="0" destOrd="0" presId="urn:microsoft.com/office/officeart/2005/8/layout/orgChart1"/>
    <dgm:cxn modelId="{4892C89E-5057-4FBC-938C-B1D37C06AEF0}" type="presOf" srcId="{05DF8F43-93AE-4EA4-A607-AF8A8BA5D19C}" destId="{DCA0F69D-0FEC-43AA-A7FB-56D4D5CABD91}" srcOrd="0" destOrd="0" presId="urn:microsoft.com/office/officeart/2005/8/layout/orgChart1"/>
    <dgm:cxn modelId="{A8FFEF56-FC3D-43A1-898C-49740FBAC26D}" type="presOf" srcId="{9C7F346A-437B-4622-B2CB-A62EDC53B5B1}" destId="{12EC1DF9-C0B9-4358-AD1C-271BC88AAD04}" srcOrd="0" destOrd="0" presId="urn:microsoft.com/office/officeart/2005/8/layout/orgChart1"/>
    <dgm:cxn modelId="{FD714875-EACF-4B49-9E52-008226BEE07B}" type="presOf" srcId="{A508D72F-BE81-403F-8B18-3E4E4D4A58FB}" destId="{3A6590FC-A54C-4CD1-9E38-DB6377E0B842}" srcOrd="1" destOrd="0" presId="urn:microsoft.com/office/officeart/2005/8/layout/orgChart1"/>
    <dgm:cxn modelId="{E4444566-67C4-46A3-84F0-E653EDA60B64}" type="presOf" srcId="{C88E93D3-DC8B-49C4-9469-921571AF18CD}" destId="{3F55631A-91F2-41E7-A0EE-27EE016C0D99}" srcOrd="0" destOrd="0" presId="urn:microsoft.com/office/officeart/2005/8/layout/orgChart1"/>
    <dgm:cxn modelId="{09A9F1D4-B3AB-4034-8CE2-E8CCC6BACD45}" type="presOf" srcId="{39184ACB-53D6-445A-AD12-8D8BCB1587C1}" destId="{DCBC27F5-F150-43A1-9627-E35936BED7C3}" srcOrd="1" destOrd="0" presId="urn:microsoft.com/office/officeart/2005/8/layout/orgChart1"/>
    <dgm:cxn modelId="{C790647F-424E-4DFB-94FD-88EB9A77598B}" type="presOf" srcId="{21F71D55-FCFB-467E-8E5A-CAC10206FCAF}" destId="{99DAC96F-E4A1-4F1A-8251-CD2275DF7C7B}" srcOrd="0" destOrd="0" presId="urn:microsoft.com/office/officeart/2005/8/layout/orgChart1"/>
    <dgm:cxn modelId="{A1747F46-B70C-454E-9607-E98E206FF4F5}" type="presOf" srcId="{8E4C77DF-E3F9-430C-930D-187C7A3C61E9}" destId="{9E04ADE1-C339-4D8A-A4CC-AA4254DF2FAE}" srcOrd="0" destOrd="0" presId="urn:microsoft.com/office/officeart/2005/8/layout/orgChart1"/>
    <dgm:cxn modelId="{11B0C6AC-D7AA-4244-893B-8347C3524A1D}" type="presOf" srcId="{266BBE48-F423-4813-B0B4-D043CA72629D}" destId="{4BA0D1F8-7A76-45FB-9F8B-A143F3689240}" srcOrd="0" destOrd="0" presId="urn:microsoft.com/office/officeart/2005/8/layout/orgChart1"/>
    <dgm:cxn modelId="{47A467D1-49BF-42EC-9DE0-2BE3B3290777}" type="presOf" srcId="{478606B2-7B53-4BD8-844D-EEA3A0C26CC1}" destId="{EA7C6641-F5B5-4C91-833F-DC62F6D2E2DC}" srcOrd="0" destOrd="0" presId="urn:microsoft.com/office/officeart/2005/8/layout/orgChart1"/>
    <dgm:cxn modelId="{2D47FD8C-6379-4E8F-AFF8-1481E2684F09}" srcId="{D0E7357C-0F89-42A3-ACC2-97DE8F12497B}" destId="{D9100671-4CB5-4820-B7B4-4B271219FE40}" srcOrd="0" destOrd="0" parTransId="{FE4C2277-3322-4A9A-A65D-A29A82815C0B}" sibTransId="{F23F7E79-4337-4D3C-B7A7-04418D03F494}"/>
    <dgm:cxn modelId="{55A84831-9E56-4661-B329-4DD41E505B4B}" type="presOf" srcId="{D0E7357C-0F89-42A3-ACC2-97DE8F12497B}" destId="{06706562-2085-4C5D-9F32-D879389E4EC6}" srcOrd="0" destOrd="0" presId="urn:microsoft.com/office/officeart/2005/8/layout/orgChart1"/>
    <dgm:cxn modelId="{9D5AE145-9354-4614-8F76-6E49BE9E638A}" type="presOf" srcId="{2CF8B66D-8174-4BE4-B419-64DC77D94A8C}" destId="{C991FD64-A9E4-4E4E-9AC8-B5BEFA41DAF1}" srcOrd="0" destOrd="0" presId="urn:microsoft.com/office/officeart/2005/8/layout/orgChart1"/>
    <dgm:cxn modelId="{5554ECEB-5513-4B23-87A6-C9DF9711686A}" srcId="{40FF39DC-82F8-41CA-B7B9-CC56D9A5B34B}" destId="{0D3039E0-1F69-4B7D-8F76-2E7447C24984}" srcOrd="0" destOrd="0" parTransId="{3CC58F7F-98F9-4AED-BB13-A65BDD0646EB}" sibTransId="{6D7888A5-B01E-43C6-AB9D-1957986F30DA}"/>
    <dgm:cxn modelId="{BFE78E32-72E7-4DBA-83AB-5F23BB629A8D}" type="presOf" srcId="{DB071331-65AC-4F4B-88A1-73AB9E168912}" destId="{7A7136E1-CBCF-4CD9-86AB-8BC82BD8452F}" srcOrd="0" destOrd="0" presId="urn:microsoft.com/office/officeart/2005/8/layout/orgChart1"/>
    <dgm:cxn modelId="{67414C9F-C299-48F2-ACE1-0820CD360D4F}" type="presOf" srcId="{A2BBF0A5-5D1A-41EE-AB12-B4A3B11631DD}" destId="{CA93F12D-DD99-4E08-A636-F53B28BDCC28}" srcOrd="1" destOrd="0" presId="urn:microsoft.com/office/officeart/2005/8/layout/orgChart1"/>
    <dgm:cxn modelId="{1CD9FE8D-6957-4F21-9AB7-5DA8255C55E9}" type="presOf" srcId="{A1F7BA2B-0B6E-4238-A50C-9B67356B415C}" destId="{15CE33D1-5C8B-455E-AC3F-60E4AC0BA046}" srcOrd="0" destOrd="0" presId="urn:microsoft.com/office/officeart/2005/8/layout/orgChart1"/>
    <dgm:cxn modelId="{A1CAAA2E-ED4F-4275-BA7F-B2AEC8E3C0B3}" type="presOf" srcId="{40FF39DC-82F8-41CA-B7B9-CC56D9A5B34B}" destId="{A135482C-7C3E-4A3A-AB63-C361DE474E45}" srcOrd="1" destOrd="0" presId="urn:microsoft.com/office/officeart/2005/8/layout/orgChart1"/>
    <dgm:cxn modelId="{1DE6F2BC-D70B-416F-90F7-823766003BFA}" srcId="{29B11A98-9D33-4B61-A1C4-0BD1F530C062}" destId="{50CF7D8C-7ED1-4102-8347-F71CA316740F}" srcOrd="2" destOrd="0" parTransId="{1161B3C3-4CC8-4D03-9228-213AB69E18C5}" sibTransId="{183EBCF5-23D5-4929-8430-8C3D8B7BD2FC}"/>
    <dgm:cxn modelId="{F513BAE0-F2DC-4485-8A25-7DFCDE23D6CC}" type="presOf" srcId="{85C7D48A-DFF2-4084-80F0-1CF3758EFDF3}" destId="{7BC8F406-0DC9-45A7-B698-8C9D764F5402}" srcOrd="0" destOrd="0" presId="urn:microsoft.com/office/officeart/2005/8/layout/orgChart1"/>
    <dgm:cxn modelId="{ECB686FA-5660-4CEB-B5A9-09FDB3A2F019}" type="presParOf" srcId="{398E9BCF-C768-462A-9BB8-E58EF94C9791}" destId="{46FF936B-8170-4A2A-913C-17A225348A7D}" srcOrd="0" destOrd="0" presId="urn:microsoft.com/office/officeart/2005/8/layout/orgChart1"/>
    <dgm:cxn modelId="{DA4D0011-FBB4-4480-BB40-26903A060328}" type="presParOf" srcId="{46FF936B-8170-4A2A-913C-17A225348A7D}" destId="{DA9A4186-AF46-462D-AE70-284078B8564B}" srcOrd="0" destOrd="0" presId="urn:microsoft.com/office/officeart/2005/8/layout/orgChart1"/>
    <dgm:cxn modelId="{53D60A97-C2AC-4D5C-BCE5-24E1741458F4}" type="presParOf" srcId="{DA9A4186-AF46-462D-AE70-284078B8564B}" destId="{5197FF8D-FC58-4291-A413-97D4B3FFC8DA}" srcOrd="0" destOrd="0" presId="urn:microsoft.com/office/officeart/2005/8/layout/orgChart1"/>
    <dgm:cxn modelId="{D9A7A91C-B9F4-41AF-8504-A7BA089D1E0A}" type="presParOf" srcId="{DA9A4186-AF46-462D-AE70-284078B8564B}" destId="{970D5FEC-0549-4E44-BEF7-3C055DD5E0EB}" srcOrd="1" destOrd="0" presId="urn:microsoft.com/office/officeart/2005/8/layout/orgChart1"/>
    <dgm:cxn modelId="{CE153B01-BBB5-4126-81AC-ECBC1E6B26EA}" type="presParOf" srcId="{46FF936B-8170-4A2A-913C-17A225348A7D}" destId="{0BF78FBB-D317-446E-9AD3-DB8B8F00D801}" srcOrd="1" destOrd="0" presId="urn:microsoft.com/office/officeart/2005/8/layout/orgChart1"/>
    <dgm:cxn modelId="{A498A1C3-B7F5-4190-8E17-B9F1D3C0ECC6}" type="presParOf" srcId="{0BF78FBB-D317-446E-9AD3-DB8B8F00D801}" destId="{7BC8F406-0DC9-45A7-B698-8C9D764F5402}" srcOrd="0" destOrd="0" presId="urn:microsoft.com/office/officeart/2005/8/layout/orgChart1"/>
    <dgm:cxn modelId="{395586B5-DFBA-4D8E-B86A-35A3F3E6C64B}" type="presParOf" srcId="{0BF78FBB-D317-446E-9AD3-DB8B8F00D801}" destId="{78526B1E-FFBC-43D5-ACAB-EF8344C937F6}" srcOrd="1" destOrd="0" presId="urn:microsoft.com/office/officeart/2005/8/layout/orgChart1"/>
    <dgm:cxn modelId="{FB9373A8-BBDB-4113-8D1B-D9F7A066C008}" type="presParOf" srcId="{78526B1E-FFBC-43D5-ACAB-EF8344C937F6}" destId="{2A128AAE-DE8B-4E5D-AB0C-7841B607A826}" srcOrd="0" destOrd="0" presId="urn:microsoft.com/office/officeart/2005/8/layout/orgChart1"/>
    <dgm:cxn modelId="{B340786C-8CCA-499C-819D-72168BAA6422}" type="presParOf" srcId="{2A128AAE-DE8B-4E5D-AB0C-7841B607A826}" destId="{5AEC8923-A78B-4727-9ED7-DE90C1D72093}" srcOrd="0" destOrd="0" presId="urn:microsoft.com/office/officeart/2005/8/layout/orgChart1"/>
    <dgm:cxn modelId="{4F0BC9D1-47C8-4901-A0D4-332F4876C064}" type="presParOf" srcId="{2A128AAE-DE8B-4E5D-AB0C-7841B607A826}" destId="{BAAD8B09-C8BE-4781-80CB-CD68113FA53E}" srcOrd="1" destOrd="0" presId="urn:microsoft.com/office/officeart/2005/8/layout/orgChart1"/>
    <dgm:cxn modelId="{9EEE3113-65AE-491E-9A5C-5E20406E841D}" type="presParOf" srcId="{78526B1E-FFBC-43D5-ACAB-EF8344C937F6}" destId="{C90D97AC-CE11-49EE-AAEC-588FFD175229}" srcOrd="1" destOrd="0" presId="urn:microsoft.com/office/officeart/2005/8/layout/orgChart1"/>
    <dgm:cxn modelId="{C0B0708F-9373-48B6-8A3A-8E87DA7A57BF}" type="presParOf" srcId="{C90D97AC-CE11-49EE-AAEC-588FFD175229}" destId="{32A11FE5-1E99-4AA1-95A6-D2087475E7BF}" srcOrd="0" destOrd="0" presId="urn:microsoft.com/office/officeart/2005/8/layout/orgChart1"/>
    <dgm:cxn modelId="{0F46ECEE-F209-4DA0-BCE8-0D1812FBC9AC}" type="presParOf" srcId="{C90D97AC-CE11-49EE-AAEC-588FFD175229}" destId="{26F1DFD7-6176-45F3-8276-11ADA6DCB685}" srcOrd="1" destOrd="0" presId="urn:microsoft.com/office/officeart/2005/8/layout/orgChart1"/>
    <dgm:cxn modelId="{836BE48B-59D3-4298-B394-9E4BE9D07777}" type="presParOf" srcId="{26F1DFD7-6176-45F3-8276-11ADA6DCB685}" destId="{53453E6A-98E0-4161-91AD-E61F8BA68171}" srcOrd="0" destOrd="0" presId="urn:microsoft.com/office/officeart/2005/8/layout/orgChart1"/>
    <dgm:cxn modelId="{C9BE6310-2837-4A10-95FF-C476732230DC}" type="presParOf" srcId="{53453E6A-98E0-4161-91AD-E61F8BA68171}" destId="{06706562-2085-4C5D-9F32-D879389E4EC6}" srcOrd="0" destOrd="0" presId="urn:microsoft.com/office/officeart/2005/8/layout/orgChart1"/>
    <dgm:cxn modelId="{74D23460-FA88-4B74-873B-C44CEA43F05F}" type="presParOf" srcId="{53453E6A-98E0-4161-91AD-E61F8BA68171}" destId="{F8054045-13C6-4793-90B2-93AE757394FE}" srcOrd="1" destOrd="0" presId="urn:microsoft.com/office/officeart/2005/8/layout/orgChart1"/>
    <dgm:cxn modelId="{9FF4AD72-EE18-4D11-BC2E-1D8D688FDF57}" type="presParOf" srcId="{26F1DFD7-6176-45F3-8276-11ADA6DCB685}" destId="{971B6693-7855-404E-BAE7-F8CD561D6D63}" srcOrd="1" destOrd="0" presId="urn:microsoft.com/office/officeart/2005/8/layout/orgChart1"/>
    <dgm:cxn modelId="{67E7E2AE-0BB0-488F-9B53-2873D12EECBC}" type="presParOf" srcId="{971B6693-7855-404E-BAE7-F8CD561D6D63}" destId="{698508D6-C93E-4E49-A7B9-B4DA6FBDF86C}" srcOrd="0" destOrd="0" presId="urn:microsoft.com/office/officeart/2005/8/layout/orgChart1"/>
    <dgm:cxn modelId="{67AA3AD1-5662-49EC-B972-3C9955230A8A}" type="presParOf" srcId="{971B6693-7855-404E-BAE7-F8CD561D6D63}" destId="{B15BDACE-8935-4836-A28A-52D1BEBC4661}" srcOrd="1" destOrd="0" presId="urn:microsoft.com/office/officeart/2005/8/layout/orgChart1"/>
    <dgm:cxn modelId="{4C1D4903-DB8C-4B41-99A8-BF814E2A4082}" type="presParOf" srcId="{B15BDACE-8935-4836-A28A-52D1BEBC4661}" destId="{0936F836-F7D1-4462-A72D-0A876A9DCC62}" srcOrd="0" destOrd="0" presId="urn:microsoft.com/office/officeart/2005/8/layout/orgChart1"/>
    <dgm:cxn modelId="{1918D0DA-4CF0-4E6F-8704-C258BA16B244}" type="presParOf" srcId="{0936F836-F7D1-4462-A72D-0A876A9DCC62}" destId="{366FD547-57D6-420F-8969-85C85847F670}" srcOrd="0" destOrd="0" presId="urn:microsoft.com/office/officeart/2005/8/layout/orgChart1"/>
    <dgm:cxn modelId="{327C2014-2144-4361-BE90-15350042D55A}" type="presParOf" srcId="{0936F836-F7D1-4462-A72D-0A876A9DCC62}" destId="{EB94A250-EE4C-4630-9677-2500B1056E16}" srcOrd="1" destOrd="0" presId="urn:microsoft.com/office/officeart/2005/8/layout/orgChart1"/>
    <dgm:cxn modelId="{64BB0681-1C21-473B-BE9F-569A07BF23A1}" type="presParOf" srcId="{B15BDACE-8935-4836-A28A-52D1BEBC4661}" destId="{BC0E8686-C84C-4FAD-A7B0-739E912D23F8}" srcOrd="1" destOrd="0" presId="urn:microsoft.com/office/officeart/2005/8/layout/orgChart1"/>
    <dgm:cxn modelId="{3EA7795B-63B2-4DA8-A910-E14385BBFAC8}" type="presParOf" srcId="{BC0E8686-C84C-4FAD-A7B0-739E912D23F8}" destId="{2D029B3C-3925-4BAB-B7CE-DDBF143FAE99}" srcOrd="0" destOrd="0" presId="urn:microsoft.com/office/officeart/2005/8/layout/orgChart1"/>
    <dgm:cxn modelId="{1109DEB5-C551-4686-AF85-9B983F20E040}" type="presParOf" srcId="{BC0E8686-C84C-4FAD-A7B0-739E912D23F8}" destId="{1D7DBBC8-7104-4AE1-8227-AE532A445ECF}" srcOrd="1" destOrd="0" presId="urn:microsoft.com/office/officeart/2005/8/layout/orgChart1"/>
    <dgm:cxn modelId="{E2B643B4-4A7F-4CE7-89B3-DD1720724363}" type="presParOf" srcId="{1D7DBBC8-7104-4AE1-8227-AE532A445ECF}" destId="{21DA3123-FEB3-4918-BE8A-C4914DBBE847}" srcOrd="0" destOrd="0" presId="urn:microsoft.com/office/officeart/2005/8/layout/orgChart1"/>
    <dgm:cxn modelId="{6D3C671A-8437-421D-A6EF-149F6EDAFA51}" type="presParOf" srcId="{21DA3123-FEB3-4918-BE8A-C4914DBBE847}" destId="{DBB318E6-0EF9-497A-8A98-B81193AEB0FD}" srcOrd="0" destOrd="0" presId="urn:microsoft.com/office/officeart/2005/8/layout/orgChart1"/>
    <dgm:cxn modelId="{E15338DE-2EB9-46CF-9384-56AFD804DE10}" type="presParOf" srcId="{21DA3123-FEB3-4918-BE8A-C4914DBBE847}" destId="{3A6590FC-A54C-4CD1-9E38-DB6377E0B842}" srcOrd="1" destOrd="0" presId="urn:microsoft.com/office/officeart/2005/8/layout/orgChart1"/>
    <dgm:cxn modelId="{81CE98E2-F7B4-46FF-9D42-94D29D658B87}" type="presParOf" srcId="{1D7DBBC8-7104-4AE1-8227-AE532A445ECF}" destId="{2969455F-5146-4786-8974-30701613F8E5}" srcOrd="1" destOrd="0" presId="urn:microsoft.com/office/officeart/2005/8/layout/orgChart1"/>
    <dgm:cxn modelId="{C400B7B2-C513-43D8-97D5-553FAFA253DC}" type="presParOf" srcId="{2969455F-5146-4786-8974-30701613F8E5}" destId="{0ECCA110-0304-4EDB-B7BA-75C9F8AEED00}" srcOrd="0" destOrd="0" presId="urn:microsoft.com/office/officeart/2005/8/layout/orgChart1"/>
    <dgm:cxn modelId="{600AB82B-8758-453F-8929-D9A1FB5AEFF9}" type="presParOf" srcId="{2969455F-5146-4786-8974-30701613F8E5}" destId="{5DACCBE8-3CE9-402A-8564-CF5BA54D1A83}" srcOrd="1" destOrd="0" presId="urn:microsoft.com/office/officeart/2005/8/layout/orgChart1"/>
    <dgm:cxn modelId="{4A2660F6-B4C2-4789-95C7-EACCFDED5C00}" type="presParOf" srcId="{5DACCBE8-3CE9-402A-8564-CF5BA54D1A83}" destId="{F4CCFDBB-FB6C-4D2D-951E-EB5A3DBE1857}" srcOrd="0" destOrd="0" presId="urn:microsoft.com/office/officeart/2005/8/layout/orgChart1"/>
    <dgm:cxn modelId="{BEF5896B-4B7F-4B56-9BB3-5F463FFCF85E}" type="presParOf" srcId="{F4CCFDBB-FB6C-4D2D-951E-EB5A3DBE1857}" destId="{79951B95-0E1F-497F-9215-D04A2A4B1CE9}" srcOrd="0" destOrd="0" presId="urn:microsoft.com/office/officeart/2005/8/layout/orgChart1"/>
    <dgm:cxn modelId="{9125A828-9DDB-427E-85A8-142C583B573B}" type="presParOf" srcId="{F4CCFDBB-FB6C-4D2D-951E-EB5A3DBE1857}" destId="{CA93F12D-DD99-4E08-A636-F53B28BDCC28}" srcOrd="1" destOrd="0" presId="urn:microsoft.com/office/officeart/2005/8/layout/orgChart1"/>
    <dgm:cxn modelId="{4889097A-66A3-44A3-85F0-DF883A21891D}" type="presParOf" srcId="{5DACCBE8-3CE9-402A-8564-CF5BA54D1A83}" destId="{09F0D646-8BB2-48D2-8BAE-5145C1D81D33}" srcOrd="1" destOrd="0" presId="urn:microsoft.com/office/officeart/2005/8/layout/orgChart1"/>
    <dgm:cxn modelId="{A8D29B04-D5CA-4C09-981F-AE6E56DEA65A}" type="presParOf" srcId="{5DACCBE8-3CE9-402A-8564-CF5BA54D1A83}" destId="{B717FF73-D484-4223-8959-3FAC91414302}" srcOrd="2" destOrd="0" presId="urn:microsoft.com/office/officeart/2005/8/layout/orgChart1"/>
    <dgm:cxn modelId="{D53173E4-40E9-489A-B6B6-57322B42B132}" type="presParOf" srcId="{2969455F-5146-4786-8974-30701613F8E5}" destId="{488475D6-E3DE-4760-98DF-A2058EFA7AA4}" srcOrd="2" destOrd="0" presId="urn:microsoft.com/office/officeart/2005/8/layout/orgChart1"/>
    <dgm:cxn modelId="{111F958E-33C9-444D-B428-EE60B8626D7A}" type="presParOf" srcId="{2969455F-5146-4786-8974-30701613F8E5}" destId="{7F65090C-710A-4DDA-8D75-6A1DCCC747D1}" srcOrd="3" destOrd="0" presId="urn:microsoft.com/office/officeart/2005/8/layout/orgChart1"/>
    <dgm:cxn modelId="{5D05A009-44E3-4610-A03C-84D6C6EE7C57}" type="presParOf" srcId="{7F65090C-710A-4DDA-8D75-6A1DCCC747D1}" destId="{7058E557-B8C3-462A-8DCA-30418D465355}" srcOrd="0" destOrd="0" presId="urn:microsoft.com/office/officeart/2005/8/layout/orgChart1"/>
    <dgm:cxn modelId="{71FF10DF-BB19-4E51-9210-D275FD656C49}" type="presParOf" srcId="{7058E557-B8C3-462A-8DCA-30418D465355}" destId="{4102933D-B9FD-4622-B378-F0338B27DB23}" srcOrd="0" destOrd="0" presId="urn:microsoft.com/office/officeart/2005/8/layout/orgChart1"/>
    <dgm:cxn modelId="{ED907AF1-B229-438E-85BB-36D15883EBF0}" type="presParOf" srcId="{7058E557-B8C3-462A-8DCA-30418D465355}" destId="{9195AFD7-D022-4BF3-9130-0EF9C2B882B3}" srcOrd="1" destOrd="0" presId="urn:microsoft.com/office/officeart/2005/8/layout/orgChart1"/>
    <dgm:cxn modelId="{BE885BA9-0578-4C9B-9804-ECBF35BA6627}" type="presParOf" srcId="{7F65090C-710A-4DDA-8D75-6A1DCCC747D1}" destId="{AEDC7FE5-79DE-4B65-8C03-7AB02C282613}" srcOrd="1" destOrd="0" presId="urn:microsoft.com/office/officeart/2005/8/layout/orgChart1"/>
    <dgm:cxn modelId="{E4E4C59A-0264-47EE-B81E-6EEE9A97568C}" type="presParOf" srcId="{7F65090C-710A-4DDA-8D75-6A1DCCC747D1}" destId="{69BA0DE5-7D6F-43D6-B0B9-F7529BFE77B0}" srcOrd="2" destOrd="0" presId="urn:microsoft.com/office/officeart/2005/8/layout/orgChart1"/>
    <dgm:cxn modelId="{620CDB77-1C44-49F5-BEB6-AD7B0985C8B9}" type="presParOf" srcId="{1D7DBBC8-7104-4AE1-8227-AE532A445ECF}" destId="{16440DD0-E5DE-46B7-8BA1-09C08D6D92DF}" srcOrd="2" destOrd="0" presId="urn:microsoft.com/office/officeart/2005/8/layout/orgChart1"/>
    <dgm:cxn modelId="{B3272314-F54B-4168-BAC4-A4D7FBA9A006}" type="presParOf" srcId="{B15BDACE-8935-4836-A28A-52D1BEBC4661}" destId="{6FA85FFE-0E29-4D3A-8559-9333DFFC306A}" srcOrd="2" destOrd="0" presId="urn:microsoft.com/office/officeart/2005/8/layout/orgChart1"/>
    <dgm:cxn modelId="{685F2C70-CF46-4413-A0EF-5EA57B0262A7}" type="presParOf" srcId="{26F1DFD7-6176-45F3-8276-11ADA6DCB685}" destId="{290416AC-1979-4604-9930-F25DD712C390}" srcOrd="2" destOrd="0" presId="urn:microsoft.com/office/officeart/2005/8/layout/orgChart1"/>
    <dgm:cxn modelId="{67068C5E-CD43-4BE0-AF6C-D07A12A18D1B}" type="presParOf" srcId="{78526B1E-FFBC-43D5-ACAB-EF8344C937F6}" destId="{CD5488BC-8F6C-4A2E-9431-200F8E798A8F}" srcOrd="2" destOrd="0" presId="urn:microsoft.com/office/officeart/2005/8/layout/orgChart1"/>
    <dgm:cxn modelId="{A5B4BB74-6574-4DEC-BD48-9451827C038B}" type="presParOf" srcId="{0BF78FBB-D317-446E-9AD3-DB8B8F00D801}" destId="{E3F6FB8C-F2C7-4BA2-AA1B-64E02C01B378}" srcOrd="2" destOrd="0" presId="urn:microsoft.com/office/officeart/2005/8/layout/orgChart1"/>
    <dgm:cxn modelId="{B796187E-DC8A-48DF-9103-865CA08AE3B7}" type="presParOf" srcId="{0BF78FBB-D317-446E-9AD3-DB8B8F00D801}" destId="{2CDBDA91-9AC1-4682-8296-1038470C176C}" srcOrd="3" destOrd="0" presId="urn:microsoft.com/office/officeart/2005/8/layout/orgChart1"/>
    <dgm:cxn modelId="{8A0E0FFD-6FFE-439A-9051-CB957EA5073C}" type="presParOf" srcId="{2CDBDA91-9AC1-4682-8296-1038470C176C}" destId="{1B3E4DFD-B199-410F-8F3C-2FD61C72253D}" srcOrd="0" destOrd="0" presId="urn:microsoft.com/office/officeart/2005/8/layout/orgChart1"/>
    <dgm:cxn modelId="{E84A18AE-590B-426D-A06B-901AA5043296}" type="presParOf" srcId="{1B3E4DFD-B199-410F-8F3C-2FD61C72253D}" destId="{8A7301E4-6839-4A0B-BBD5-6C11DD40797D}" srcOrd="0" destOrd="0" presId="urn:microsoft.com/office/officeart/2005/8/layout/orgChart1"/>
    <dgm:cxn modelId="{DC56281F-1A03-44B7-8A45-C92C9AB151D9}" type="presParOf" srcId="{1B3E4DFD-B199-410F-8F3C-2FD61C72253D}" destId="{FF0CBA67-A219-4313-B4DC-C4682C06DE52}" srcOrd="1" destOrd="0" presId="urn:microsoft.com/office/officeart/2005/8/layout/orgChart1"/>
    <dgm:cxn modelId="{F28BB7FB-C244-4E62-AF52-BCD7BFB3FD42}" type="presParOf" srcId="{2CDBDA91-9AC1-4682-8296-1038470C176C}" destId="{4AA8A3AB-1233-4958-8CFE-0A4B7E231FF3}" srcOrd="1" destOrd="0" presId="urn:microsoft.com/office/officeart/2005/8/layout/orgChart1"/>
    <dgm:cxn modelId="{0B715C84-BB53-439B-9BAD-AB7913C54ADC}" type="presParOf" srcId="{4AA8A3AB-1233-4958-8CFE-0A4B7E231FF3}" destId="{6DF3FE2B-F1DA-4413-8913-2B9E5EE9BE1A}" srcOrd="0" destOrd="0" presId="urn:microsoft.com/office/officeart/2005/8/layout/orgChart1"/>
    <dgm:cxn modelId="{539ABD5F-D489-42CE-949E-1043B138BC4E}" type="presParOf" srcId="{4AA8A3AB-1233-4958-8CFE-0A4B7E231FF3}" destId="{54B3288E-B666-4374-923C-D90F5AEE32CD}" srcOrd="1" destOrd="0" presId="urn:microsoft.com/office/officeart/2005/8/layout/orgChart1"/>
    <dgm:cxn modelId="{A01E58AA-EAAA-4C79-8759-02D25A90BF1C}" type="presParOf" srcId="{54B3288E-B666-4374-923C-D90F5AEE32CD}" destId="{D06B4687-D0A7-4E1D-AC27-97BC1EDCED1C}" srcOrd="0" destOrd="0" presId="urn:microsoft.com/office/officeart/2005/8/layout/orgChart1"/>
    <dgm:cxn modelId="{DF19004B-5B64-41E1-9C3C-8D4304CF7879}" type="presParOf" srcId="{D06B4687-D0A7-4E1D-AC27-97BC1EDCED1C}" destId="{14C0F6B3-7708-4CAD-B8EC-E9A689648763}" srcOrd="0" destOrd="0" presId="urn:microsoft.com/office/officeart/2005/8/layout/orgChart1"/>
    <dgm:cxn modelId="{AEF9C18D-51EE-435B-B3E4-6DD70F7FB9C7}" type="presParOf" srcId="{D06B4687-D0A7-4E1D-AC27-97BC1EDCED1C}" destId="{23F6EC11-8BB0-4EB2-9B75-2CB751E9AFFE}" srcOrd="1" destOrd="0" presId="urn:microsoft.com/office/officeart/2005/8/layout/orgChart1"/>
    <dgm:cxn modelId="{52098B2E-FDF3-4DBA-8387-5A3E82B54887}" type="presParOf" srcId="{54B3288E-B666-4374-923C-D90F5AEE32CD}" destId="{8DAC05B8-3347-401A-AC34-1F37CAA9A202}" srcOrd="1" destOrd="0" presId="urn:microsoft.com/office/officeart/2005/8/layout/orgChart1"/>
    <dgm:cxn modelId="{0674B370-FD6C-4C9E-A81F-BE52FE1DDFC9}" type="presParOf" srcId="{8DAC05B8-3347-401A-AC34-1F37CAA9A202}" destId="{25490263-AA39-456D-B8BE-13FAC661C19E}" srcOrd="0" destOrd="0" presId="urn:microsoft.com/office/officeart/2005/8/layout/orgChart1"/>
    <dgm:cxn modelId="{EA0E4BC4-DFE8-4524-B948-7D72CD394961}" type="presParOf" srcId="{8DAC05B8-3347-401A-AC34-1F37CAA9A202}" destId="{A7623238-7A87-444A-BECE-36F25C02AB04}" srcOrd="1" destOrd="0" presId="urn:microsoft.com/office/officeart/2005/8/layout/orgChart1"/>
    <dgm:cxn modelId="{D6CC6FFC-C645-4CB4-8964-F66C422B3850}" type="presParOf" srcId="{A7623238-7A87-444A-BECE-36F25C02AB04}" destId="{F128C1E1-4636-499A-8DDA-C929293BCC95}" srcOrd="0" destOrd="0" presId="urn:microsoft.com/office/officeart/2005/8/layout/orgChart1"/>
    <dgm:cxn modelId="{BB598B6A-9773-4A8D-B0EA-5FE5129B6934}" type="presParOf" srcId="{F128C1E1-4636-499A-8DDA-C929293BCC95}" destId="{09CA3129-8B94-4B14-958F-A7CA4D18A9B9}" srcOrd="0" destOrd="0" presId="urn:microsoft.com/office/officeart/2005/8/layout/orgChart1"/>
    <dgm:cxn modelId="{4AD7B4E7-20BA-46D2-8BE5-490510DE9172}" type="presParOf" srcId="{F128C1E1-4636-499A-8DDA-C929293BCC95}" destId="{A135482C-7C3E-4A3A-AB63-C361DE474E45}" srcOrd="1" destOrd="0" presId="urn:microsoft.com/office/officeart/2005/8/layout/orgChart1"/>
    <dgm:cxn modelId="{59A0CFE9-FC24-4660-8B13-233150C18534}" type="presParOf" srcId="{A7623238-7A87-444A-BECE-36F25C02AB04}" destId="{CF744B91-7569-4802-944A-D4867A059610}" srcOrd="1" destOrd="0" presId="urn:microsoft.com/office/officeart/2005/8/layout/orgChart1"/>
    <dgm:cxn modelId="{134EC042-F54B-42E3-AB78-7598B1F934EB}" type="presParOf" srcId="{CF744B91-7569-4802-944A-D4867A059610}" destId="{7A2DCF16-4793-4F62-8615-1A86A0383840}" srcOrd="0" destOrd="0" presId="urn:microsoft.com/office/officeart/2005/8/layout/orgChart1"/>
    <dgm:cxn modelId="{567CCD13-AF84-4580-AD51-96B1B5B399C0}" type="presParOf" srcId="{CF744B91-7569-4802-944A-D4867A059610}" destId="{E4FCECBF-E460-48FA-A15E-DCF2DC70EEBD}" srcOrd="1" destOrd="0" presId="urn:microsoft.com/office/officeart/2005/8/layout/orgChart1"/>
    <dgm:cxn modelId="{D7C47885-D888-4C62-B793-A353FDE154D5}" type="presParOf" srcId="{E4FCECBF-E460-48FA-A15E-DCF2DC70EEBD}" destId="{1C00396D-C161-4B99-9732-5D9ED84D37CB}" srcOrd="0" destOrd="0" presId="urn:microsoft.com/office/officeart/2005/8/layout/orgChart1"/>
    <dgm:cxn modelId="{F1AFBD8F-829E-4A5E-A3DA-6C9C87C2906A}" type="presParOf" srcId="{1C00396D-C161-4B99-9732-5D9ED84D37CB}" destId="{1B6B3A2C-2B86-46D8-8C2F-D122B2AA83BF}" srcOrd="0" destOrd="0" presId="urn:microsoft.com/office/officeart/2005/8/layout/orgChart1"/>
    <dgm:cxn modelId="{A5A12514-42AC-4C9F-8095-49FE9581FD15}" type="presParOf" srcId="{1C00396D-C161-4B99-9732-5D9ED84D37CB}" destId="{03DFBC13-575B-44C5-9411-8C49A89188ED}" srcOrd="1" destOrd="0" presId="urn:microsoft.com/office/officeart/2005/8/layout/orgChart1"/>
    <dgm:cxn modelId="{942ED60A-A4F2-498B-B9B2-F097AC7B7E96}" type="presParOf" srcId="{E4FCECBF-E460-48FA-A15E-DCF2DC70EEBD}" destId="{E40509C5-A16B-48FF-B1F2-E683DC65CAEC}" srcOrd="1" destOrd="0" presId="urn:microsoft.com/office/officeart/2005/8/layout/orgChart1"/>
    <dgm:cxn modelId="{6E591714-3067-47FD-B009-C0199A84CEF7}" type="presParOf" srcId="{E40509C5-A16B-48FF-B1F2-E683DC65CAEC}" destId="{00C1FD16-2F46-47BB-BF0F-C1D434EB35EE}" srcOrd="0" destOrd="0" presId="urn:microsoft.com/office/officeart/2005/8/layout/orgChart1"/>
    <dgm:cxn modelId="{E63A1F13-479E-4C47-8E81-4E36632A572E}" type="presParOf" srcId="{E40509C5-A16B-48FF-B1F2-E683DC65CAEC}" destId="{A06EB592-63C2-4466-A8AD-17450E8479B6}" srcOrd="1" destOrd="0" presId="urn:microsoft.com/office/officeart/2005/8/layout/orgChart1"/>
    <dgm:cxn modelId="{CCC3EAB8-603A-4DBA-88BC-A2307C8F2AD6}" type="presParOf" srcId="{A06EB592-63C2-4466-A8AD-17450E8479B6}" destId="{F096C677-04DC-4D27-AAE7-612F20DF6EBA}" srcOrd="0" destOrd="0" presId="urn:microsoft.com/office/officeart/2005/8/layout/orgChart1"/>
    <dgm:cxn modelId="{8DCE8240-B55B-4534-B4E6-477E062BD904}" type="presParOf" srcId="{F096C677-04DC-4D27-AAE7-612F20DF6EBA}" destId="{0CEF3506-6E37-4655-993C-7C8FD251AC4E}" srcOrd="0" destOrd="0" presId="urn:microsoft.com/office/officeart/2005/8/layout/orgChart1"/>
    <dgm:cxn modelId="{F40E4708-E47A-43E0-B5B1-83E500922D18}" type="presParOf" srcId="{F096C677-04DC-4D27-AAE7-612F20DF6EBA}" destId="{26805636-D31E-43BA-8879-D61E1A01CD81}" srcOrd="1" destOrd="0" presId="urn:microsoft.com/office/officeart/2005/8/layout/orgChart1"/>
    <dgm:cxn modelId="{5E00CE8E-BA88-4E89-BD74-48F4EFFFCE9F}" type="presParOf" srcId="{A06EB592-63C2-4466-A8AD-17450E8479B6}" destId="{E8F82A9E-EE69-4207-AD52-B8FF3E26A3A7}" srcOrd="1" destOrd="0" presId="urn:microsoft.com/office/officeart/2005/8/layout/orgChart1"/>
    <dgm:cxn modelId="{92ACB0B9-CFF6-4BBC-B9DA-C57197C799D7}" type="presParOf" srcId="{A06EB592-63C2-4466-A8AD-17450E8479B6}" destId="{8CEBFE10-552B-4804-AC47-003306650626}" srcOrd="2" destOrd="0" presId="urn:microsoft.com/office/officeart/2005/8/layout/orgChart1"/>
    <dgm:cxn modelId="{37B58962-731A-41A4-BBFC-CE4BE2024ED5}" type="presParOf" srcId="{E40509C5-A16B-48FF-B1F2-E683DC65CAEC}" destId="{EA7C6641-F5B5-4C91-833F-DC62F6D2E2DC}" srcOrd="2" destOrd="0" presId="urn:microsoft.com/office/officeart/2005/8/layout/orgChart1"/>
    <dgm:cxn modelId="{18D4B29B-261A-4244-BBB0-E6975A6E94BF}" type="presParOf" srcId="{E40509C5-A16B-48FF-B1F2-E683DC65CAEC}" destId="{8D3C9F6F-4919-443A-B2CE-4795C5EC33B0}" srcOrd="3" destOrd="0" presId="urn:microsoft.com/office/officeart/2005/8/layout/orgChart1"/>
    <dgm:cxn modelId="{DD70F50B-70FA-43B9-8DA9-EFC06BA955F5}" type="presParOf" srcId="{8D3C9F6F-4919-443A-B2CE-4795C5EC33B0}" destId="{F2B9C19F-0340-4BC8-919D-2A4A5987C7B5}" srcOrd="0" destOrd="0" presId="urn:microsoft.com/office/officeart/2005/8/layout/orgChart1"/>
    <dgm:cxn modelId="{4B5EC145-493C-49D5-A7E2-8328C93E74B5}" type="presParOf" srcId="{F2B9C19F-0340-4BC8-919D-2A4A5987C7B5}" destId="{9E04ADE1-C339-4D8A-A4CC-AA4254DF2FAE}" srcOrd="0" destOrd="0" presId="urn:microsoft.com/office/officeart/2005/8/layout/orgChart1"/>
    <dgm:cxn modelId="{F3BBC799-9D6D-4984-A6DD-D8308C829798}" type="presParOf" srcId="{F2B9C19F-0340-4BC8-919D-2A4A5987C7B5}" destId="{7B4C0C91-16B1-433B-8211-E67D9939B331}" srcOrd="1" destOrd="0" presId="urn:microsoft.com/office/officeart/2005/8/layout/orgChart1"/>
    <dgm:cxn modelId="{C179BD90-37A0-4509-B09C-722AFC5868E4}" type="presParOf" srcId="{8D3C9F6F-4919-443A-B2CE-4795C5EC33B0}" destId="{0DEF4B63-6C2B-46CD-9136-DB007261750E}" srcOrd="1" destOrd="0" presId="urn:microsoft.com/office/officeart/2005/8/layout/orgChart1"/>
    <dgm:cxn modelId="{753BD41B-7549-4FEC-9BD8-A715639FC0B9}" type="presParOf" srcId="{8D3C9F6F-4919-443A-B2CE-4795C5EC33B0}" destId="{7AA28639-B60A-40DC-BF9E-2FD396B3D7B3}" srcOrd="2" destOrd="0" presId="urn:microsoft.com/office/officeart/2005/8/layout/orgChart1"/>
    <dgm:cxn modelId="{FE6CB40E-B632-4E63-ADE6-4097EC86A6A6}" type="presParOf" srcId="{E4FCECBF-E460-48FA-A15E-DCF2DC70EEBD}" destId="{F075DDE6-0972-41D9-B707-D8687CA19B0A}" srcOrd="2" destOrd="0" presId="urn:microsoft.com/office/officeart/2005/8/layout/orgChart1"/>
    <dgm:cxn modelId="{2496CC32-1DEC-4C3D-BCFF-974D3102C30B}" type="presParOf" srcId="{A7623238-7A87-444A-BECE-36F25C02AB04}" destId="{EEB5EBBD-A7A9-4BB5-A632-DFF511FD3D0A}" srcOrd="2" destOrd="0" presId="urn:microsoft.com/office/officeart/2005/8/layout/orgChart1"/>
    <dgm:cxn modelId="{F41B199A-B92A-44CF-B8FD-721ED6ABC62E}" type="presParOf" srcId="{54B3288E-B666-4374-923C-D90F5AEE32CD}" destId="{0DBA6529-6650-4132-ACCC-7D7D69DC460D}" srcOrd="2" destOrd="0" presId="urn:microsoft.com/office/officeart/2005/8/layout/orgChart1"/>
    <dgm:cxn modelId="{0AA6568E-2DDA-4B20-9F74-FC1FC57B52E0}" type="presParOf" srcId="{2CDBDA91-9AC1-4682-8296-1038470C176C}" destId="{9E88C892-72D1-478E-AEF5-D0D8B808C5FF}" srcOrd="2" destOrd="0" presId="urn:microsoft.com/office/officeart/2005/8/layout/orgChart1"/>
    <dgm:cxn modelId="{F5189F71-F9D6-42A7-B5C2-58BDF20C6243}" type="presParOf" srcId="{0BF78FBB-D317-446E-9AD3-DB8B8F00D801}" destId="{E68009D5-0F24-495C-B17E-71B0D4EE1A02}" srcOrd="4" destOrd="0" presId="urn:microsoft.com/office/officeart/2005/8/layout/orgChart1"/>
    <dgm:cxn modelId="{D50A41FC-72F3-413F-B640-077DA0881A46}" type="presParOf" srcId="{0BF78FBB-D317-446E-9AD3-DB8B8F00D801}" destId="{7DA6822D-491A-44ED-B51B-1166D53CAABE}" srcOrd="5" destOrd="0" presId="urn:microsoft.com/office/officeart/2005/8/layout/orgChart1"/>
    <dgm:cxn modelId="{85365F3F-AF99-4675-8A92-9DCA678760EB}" type="presParOf" srcId="{7DA6822D-491A-44ED-B51B-1166D53CAABE}" destId="{9CEF4D66-75FA-4B91-BFA0-248F2700F391}" srcOrd="0" destOrd="0" presId="urn:microsoft.com/office/officeart/2005/8/layout/orgChart1"/>
    <dgm:cxn modelId="{ABD2C1D5-F7D0-4B4C-B85C-88B58FF91499}" type="presParOf" srcId="{9CEF4D66-75FA-4B91-BFA0-248F2700F391}" destId="{7E3A5B43-1594-4AEF-A8C9-9DDF3845EB77}" srcOrd="0" destOrd="0" presId="urn:microsoft.com/office/officeart/2005/8/layout/orgChart1"/>
    <dgm:cxn modelId="{07D81474-9785-4FA5-84A1-E0E1FD563FCD}" type="presParOf" srcId="{9CEF4D66-75FA-4B91-BFA0-248F2700F391}" destId="{A814F93A-BA38-4945-8DB7-3A338E9C09C0}" srcOrd="1" destOrd="0" presId="urn:microsoft.com/office/officeart/2005/8/layout/orgChart1"/>
    <dgm:cxn modelId="{58462AB9-8270-4B1D-8165-0C8AE79B14A9}" type="presParOf" srcId="{7DA6822D-491A-44ED-B51B-1166D53CAABE}" destId="{3824A08B-6BDF-4345-AF53-B824C1AADBA0}" srcOrd="1" destOrd="0" presId="urn:microsoft.com/office/officeart/2005/8/layout/orgChart1"/>
    <dgm:cxn modelId="{A990491F-F79F-4C8C-B068-AF4C89BCD162}" type="presParOf" srcId="{3824A08B-6BDF-4345-AF53-B824C1AADBA0}" destId="{DFCF65C2-1D4E-4203-8483-263873D3B705}" srcOrd="0" destOrd="0" presId="urn:microsoft.com/office/officeart/2005/8/layout/orgChart1"/>
    <dgm:cxn modelId="{3F891632-6DB4-4F17-89CD-939C42BBB194}" type="presParOf" srcId="{3824A08B-6BDF-4345-AF53-B824C1AADBA0}" destId="{A5DC6E14-2DD8-4A4D-9B0E-11E200E26A73}" srcOrd="1" destOrd="0" presId="urn:microsoft.com/office/officeart/2005/8/layout/orgChart1"/>
    <dgm:cxn modelId="{48CE3ADF-3223-45E5-89F5-5B0725FB5AEB}" type="presParOf" srcId="{A5DC6E14-2DD8-4A4D-9B0E-11E200E26A73}" destId="{92B72518-CFA3-4035-9BF7-97ECA93F9B62}" srcOrd="0" destOrd="0" presId="urn:microsoft.com/office/officeart/2005/8/layout/orgChart1"/>
    <dgm:cxn modelId="{45A1B9A8-7D82-4EAC-8507-40A7E99F5345}" type="presParOf" srcId="{92B72518-CFA3-4035-9BF7-97ECA93F9B62}" destId="{65C0A499-92EB-45F2-949A-1B73F4D033F2}" srcOrd="0" destOrd="0" presId="urn:microsoft.com/office/officeart/2005/8/layout/orgChart1"/>
    <dgm:cxn modelId="{F469DA0A-9A90-4106-B92C-966E8CBAC856}" type="presParOf" srcId="{92B72518-CFA3-4035-9BF7-97ECA93F9B62}" destId="{98E166B0-531E-43B7-8A97-C6036663D8E6}" srcOrd="1" destOrd="0" presId="urn:microsoft.com/office/officeart/2005/8/layout/orgChart1"/>
    <dgm:cxn modelId="{27E94576-E8B9-4476-B731-6276905155E4}" type="presParOf" srcId="{A5DC6E14-2DD8-4A4D-9B0E-11E200E26A73}" destId="{4B08A774-F3F2-47E7-B366-6D92574A5B17}" srcOrd="1" destOrd="0" presId="urn:microsoft.com/office/officeart/2005/8/layout/orgChart1"/>
    <dgm:cxn modelId="{B4C09C2A-72E4-4B14-AAFD-25A41D3B4716}" type="presParOf" srcId="{4B08A774-F3F2-47E7-B366-6D92574A5B17}" destId="{4BA0D1F8-7A76-45FB-9F8B-A143F3689240}" srcOrd="0" destOrd="0" presId="urn:microsoft.com/office/officeart/2005/8/layout/orgChart1"/>
    <dgm:cxn modelId="{63AB7703-0FA9-490B-9931-7FCD478759B7}" type="presParOf" srcId="{4B08A774-F3F2-47E7-B366-6D92574A5B17}" destId="{12AEE908-2F1F-4FE8-84C2-1496551E89D4}" srcOrd="1" destOrd="0" presId="urn:microsoft.com/office/officeart/2005/8/layout/orgChart1"/>
    <dgm:cxn modelId="{ADEFC587-20D0-49A6-B890-9FD40A5611E2}" type="presParOf" srcId="{12AEE908-2F1F-4FE8-84C2-1496551E89D4}" destId="{2AF134DD-D125-43F2-BD07-897080FFDF25}" srcOrd="0" destOrd="0" presId="urn:microsoft.com/office/officeart/2005/8/layout/orgChart1"/>
    <dgm:cxn modelId="{5AEBD5D5-A723-44B8-A9BC-0DBF14A1BBD9}" type="presParOf" srcId="{2AF134DD-D125-43F2-BD07-897080FFDF25}" destId="{C991FD64-A9E4-4E4E-9AC8-B5BEFA41DAF1}" srcOrd="0" destOrd="0" presId="urn:microsoft.com/office/officeart/2005/8/layout/orgChart1"/>
    <dgm:cxn modelId="{2611D160-EBA0-4D75-93BE-EDEE085E73CC}" type="presParOf" srcId="{2AF134DD-D125-43F2-BD07-897080FFDF25}" destId="{FBAD4223-2F15-4A1F-8B72-E4CEE4217AF4}" srcOrd="1" destOrd="0" presId="urn:microsoft.com/office/officeart/2005/8/layout/orgChart1"/>
    <dgm:cxn modelId="{6FD3FEDE-97DE-4CDC-8286-021E2EFA0E01}" type="presParOf" srcId="{12AEE908-2F1F-4FE8-84C2-1496551E89D4}" destId="{C5A3C17C-C0D3-4D9C-B316-2F4236677811}" srcOrd="1" destOrd="0" presId="urn:microsoft.com/office/officeart/2005/8/layout/orgChart1"/>
    <dgm:cxn modelId="{E9763DF6-2143-42F1-964E-8C39441EAC2C}" type="presParOf" srcId="{C5A3C17C-C0D3-4D9C-B316-2F4236677811}" destId="{331F420B-6220-4553-B12C-D8A16684D2A0}" srcOrd="0" destOrd="0" presId="urn:microsoft.com/office/officeart/2005/8/layout/orgChart1"/>
    <dgm:cxn modelId="{98A36EC7-01C3-49E4-A6D6-16738DCA2AF0}" type="presParOf" srcId="{C5A3C17C-C0D3-4D9C-B316-2F4236677811}" destId="{BE28020A-DE7C-46F4-A35B-B29765B8C7E0}" srcOrd="1" destOrd="0" presId="urn:microsoft.com/office/officeart/2005/8/layout/orgChart1"/>
    <dgm:cxn modelId="{75029369-387E-481A-8499-E1BD0126A794}" type="presParOf" srcId="{BE28020A-DE7C-46F4-A35B-B29765B8C7E0}" destId="{7CB87017-0D23-4D3F-A0A4-4CAAFA3C651E}" srcOrd="0" destOrd="0" presId="urn:microsoft.com/office/officeart/2005/8/layout/orgChart1"/>
    <dgm:cxn modelId="{BFAF4D50-30AF-44C9-AA5D-8E5A280A8CEA}" type="presParOf" srcId="{7CB87017-0D23-4D3F-A0A4-4CAAFA3C651E}" destId="{BC4DFC15-38D5-41CC-8E68-75EBB547D8BC}" srcOrd="0" destOrd="0" presId="urn:microsoft.com/office/officeart/2005/8/layout/orgChart1"/>
    <dgm:cxn modelId="{F11FB0BC-0B9B-4B17-A8D3-0EF50FE9C9A3}" type="presParOf" srcId="{7CB87017-0D23-4D3F-A0A4-4CAAFA3C651E}" destId="{226480DA-D004-4E2D-86B6-AA75876EE6A5}" srcOrd="1" destOrd="0" presId="urn:microsoft.com/office/officeart/2005/8/layout/orgChart1"/>
    <dgm:cxn modelId="{F08008B8-45D5-4315-AF7C-7E6C0AF81A21}" type="presParOf" srcId="{BE28020A-DE7C-46F4-A35B-B29765B8C7E0}" destId="{967E1487-2099-4560-9247-78C15BCC30B6}" srcOrd="1" destOrd="0" presId="urn:microsoft.com/office/officeart/2005/8/layout/orgChart1"/>
    <dgm:cxn modelId="{726C9486-5C14-4602-BE34-1E2ACA2B0FFD}" type="presParOf" srcId="{967E1487-2099-4560-9247-78C15BCC30B6}" destId="{F661A9E4-35A6-43C0-AA52-081AC41A5F9E}" srcOrd="0" destOrd="0" presId="urn:microsoft.com/office/officeart/2005/8/layout/orgChart1"/>
    <dgm:cxn modelId="{B3DBA187-B610-4F09-BDE9-EBFE6CA5F422}" type="presParOf" srcId="{967E1487-2099-4560-9247-78C15BCC30B6}" destId="{CEDF1682-0938-48E4-8714-3B1A826580D8}" srcOrd="1" destOrd="0" presId="urn:microsoft.com/office/officeart/2005/8/layout/orgChart1"/>
    <dgm:cxn modelId="{7E51E1D6-CC6E-4A1D-84EF-A1ACD84914AA}" type="presParOf" srcId="{CEDF1682-0938-48E4-8714-3B1A826580D8}" destId="{3E81635A-ECF8-43E9-8BA1-7901B35E58C8}" srcOrd="0" destOrd="0" presId="urn:microsoft.com/office/officeart/2005/8/layout/orgChart1"/>
    <dgm:cxn modelId="{6950A24A-BA2A-4143-AB77-BF3CC6DF0234}" type="presParOf" srcId="{3E81635A-ECF8-43E9-8BA1-7901B35E58C8}" destId="{3F55631A-91F2-41E7-A0EE-27EE016C0D99}" srcOrd="0" destOrd="0" presId="urn:microsoft.com/office/officeart/2005/8/layout/orgChart1"/>
    <dgm:cxn modelId="{B6F24F36-C98F-4099-88B1-36DC78E7A6E4}" type="presParOf" srcId="{3E81635A-ECF8-43E9-8BA1-7901B35E58C8}" destId="{77C7AA31-4D9B-4EB0-A820-70CCF7589E7C}" srcOrd="1" destOrd="0" presId="urn:microsoft.com/office/officeart/2005/8/layout/orgChart1"/>
    <dgm:cxn modelId="{61A28B6F-D5CC-4C09-B2D6-2F41DD07C2D8}" type="presParOf" srcId="{CEDF1682-0938-48E4-8714-3B1A826580D8}" destId="{3F8AF12B-C194-402F-8994-FA9596B36E66}" srcOrd="1" destOrd="0" presId="urn:microsoft.com/office/officeart/2005/8/layout/orgChart1"/>
    <dgm:cxn modelId="{254CE71B-8506-4D2E-A1E6-4060583E0A94}" type="presParOf" srcId="{CEDF1682-0938-48E4-8714-3B1A826580D8}" destId="{00BBB05E-DB50-44E6-8511-93F77984E297}" srcOrd="2" destOrd="0" presId="urn:microsoft.com/office/officeart/2005/8/layout/orgChart1"/>
    <dgm:cxn modelId="{F0E466C8-F095-45C8-B316-8F7A9DAF18CF}" type="presParOf" srcId="{967E1487-2099-4560-9247-78C15BCC30B6}" destId="{15CE33D1-5C8B-455E-AC3F-60E4AC0BA046}" srcOrd="2" destOrd="0" presId="urn:microsoft.com/office/officeart/2005/8/layout/orgChart1"/>
    <dgm:cxn modelId="{8058F70F-A1E4-4940-8F5E-86B775F13504}" type="presParOf" srcId="{967E1487-2099-4560-9247-78C15BCC30B6}" destId="{58424C23-FBDF-4694-A2C5-229AD871674D}" srcOrd="3" destOrd="0" presId="urn:microsoft.com/office/officeart/2005/8/layout/orgChart1"/>
    <dgm:cxn modelId="{16A5A4F3-C598-40AC-AB1C-985ED7D19210}" type="presParOf" srcId="{58424C23-FBDF-4694-A2C5-229AD871674D}" destId="{8B0C8FDB-EA42-4333-87D6-FA4959B4F93F}" srcOrd="0" destOrd="0" presId="urn:microsoft.com/office/officeart/2005/8/layout/orgChart1"/>
    <dgm:cxn modelId="{B571AB2E-25AE-49BE-9541-3228DA4112A1}" type="presParOf" srcId="{8B0C8FDB-EA42-4333-87D6-FA4959B4F93F}" destId="{99DAC96F-E4A1-4F1A-8251-CD2275DF7C7B}" srcOrd="0" destOrd="0" presId="urn:microsoft.com/office/officeart/2005/8/layout/orgChart1"/>
    <dgm:cxn modelId="{DE4A307A-3A3C-4841-8F14-E649FE7434BD}" type="presParOf" srcId="{8B0C8FDB-EA42-4333-87D6-FA4959B4F93F}" destId="{CFA457B9-E94F-4F6F-B751-2A6B4884602F}" srcOrd="1" destOrd="0" presId="urn:microsoft.com/office/officeart/2005/8/layout/orgChart1"/>
    <dgm:cxn modelId="{20DBD647-B183-4BD0-8A08-42E7EE3DF64F}" type="presParOf" srcId="{58424C23-FBDF-4694-A2C5-229AD871674D}" destId="{0E45B1ED-4A33-4700-BDAC-A34A053DB6F9}" srcOrd="1" destOrd="0" presId="urn:microsoft.com/office/officeart/2005/8/layout/orgChart1"/>
    <dgm:cxn modelId="{A02E81C1-E11B-43D7-9F96-06D27D5B1D44}" type="presParOf" srcId="{58424C23-FBDF-4694-A2C5-229AD871674D}" destId="{96C9E1A5-C33D-44D5-AE29-D9104E39D39C}" srcOrd="2" destOrd="0" presId="urn:microsoft.com/office/officeart/2005/8/layout/orgChart1"/>
    <dgm:cxn modelId="{0A997B10-11D6-4638-8CC3-AF80E9F7A5BA}" type="presParOf" srcId="{BE28020A-DE7C-46F4-A35B-B29765B8C7E0}" destId="{D42485C5-484F-4FFD-9B0F-54678A35F986}" srcOrd="2" destOrd="0" presId="urn:microsoft.com/office/officeart/2005/8/layout/orgChart1"/>
    <dgm:cxn modelId="{065A901C-4F3D-4C97-808C-AF58D6F123DC}" type="presParOf" srcId="{C5A3C17C-C0D3-4D9C-B316-2F4236677811}" destId="{DCA0F69D-0FEC-43AA-A7FB-56D4D5CABD91}" srcOrd="2" destOrd="0" presId="urn:microsoft.com/office/officeart/2005/8/layout/orgChart1"/>
    <dgm:cxn modelId="{2386667F-95C8-4F2C-9F73-8AE698CA85E9}" type="presParOf" srcId="{C5A3C17C-C0D3-4D9C-B316-2F4236677811}" destId="{883B7B0A-8F61-496C-9028-ACFD07AD3EF4}" srcOrd="3" destOrd="0" presId="urn:microsoft.com/office/officeart/2005/8/layout/orgChart1"/>
    <dgm:cxn modelId="{2BBBFD1A-2410-449E-AD7A-69DACEFA7B86}" type="presParOf" srcId="{883B7B0A-8F61-496C-9028-ACFD07AD3EF4}" destId="{B9D09133-F184-4629-B5AD-161037094D19}" srcOrd="0" destOrd="0" presId="urn:microsoft.com/office/officeart/2005/8/layout/orgChart1"/>
    <dgm:cxn modelId="{0D362C5C-35B4-4C3B-A73C-A1FF99BEB0FF}" type="presParOf" srcId="{B9D09133-F184-4629-B5AD-161037094D19}" destId="{9CDAB95E-10AC-4D07-9777-6AC18071A7DA}" srcOrd="0" destOrd="0" presId="urn:microsoft.com/office/officeart/2005/8/layout/orgChart1"/>
    <dgm:cxn modelId="{5B7FFCE2-AD67-4440-AD99-A7E9A802725F}" type="presParOf" srcId="{B9D09133-F184-4629-B5AD-161037094D19}" destId="{8B8AF4BD-CBE0-4CA5-833C-440BE0FDA61B}" srcOrd="1" destOrd="0" presId="urn:microsoft.com/office/officeart/2005/8/layout/orgChart1"/>
    <dgm:cxn modelId="{76BF91CA-5C17-4063-8234-89D1692E493F}" type="presParOf" srcId="{883B7B0A-8F61-496C-9028-ACFD07AD3EF4}" destId="{E59A1562-D9ED-4A82-962E-9C37B2889271}" srcOrd="1" destOrd="0" presId="urn:microsoft.com/office/officeart/2005/8/layout/orgChart1"/>
    <dgm:cxn modelId="{43346AF1-0484-4AD5-9821-25DE80E6ACC7}" type="presParOf" srcId="{883B7B0A-8F61-496C-9028-ACFD07AD3EF4}" destId="{A8367421-19E7-44F8-B42F-189DB39E11B2}" srcOrd="2" destOrd="0" presId="urn:microsoft.com/office/officeart/2005/8/layout/orgChart1"/>
    <dgm:cxn modelId="{E6488097-1C0B-4B8C-B6C9-9B8C19FD9E11}" type="presParOf" srcId="{12AEE908-2F1F-4FE8-84C2-1496551E89D4}" destId="{C3F37AC0-70D0-4F54-A65E-747CB71F0DAB}" srcOrd="2" destOrd="0" presId="urn:microsoft.com/office/officeart/2005/8/layout/orgChart1"/>
    <dgm:cxn modelId="{4D17C720-B985-40DC-BA41-BCA700B0A6B7}" type="presParOf" srcId="{A5DC6E14-2DD8-4A4D-9B0E-11E200E26A73}" destId="{B3300620-D487-4901-A86B-5783BDDC333F}" srcOrd="2" destOrd="0" presId="urn:microsoft.com/office/officeart/2005/8/layout/orgChart1"/>
    <dgm:cxn modelId="{B06DF948-7595-42E2-80BE-2F1D7E60BA54}" type="presParOf" srcId="{7DA6822D-491A-44ED-B51B-1166D53CAABE}" destId="{574C65FD-5127-4961-9183-6E86A88ECCD2}" srcOrd="2" destOrd="0" presId="urn:microsoft.com/office/officeart/2005/8/layout/orgChart1"/>
    <dgm:cxn modelId="{8AC9E03F-BAA8-4CCC-B4CE-A75EAE16AC24}" type="presParOf" srcId="{0BF78FBB-D317-446E-9AD3-DB8B8F00D801}" destId="{7A7136E1-CBCF-4CD9-86AB-8BC82BD8452F}" srcOrd="6" destOrd="0" presId="urn:microsoft.com/office/officeart/2005/8/layout/orgChart1"/>
    <dgm:cxn modelId="{2C9CF72F-090D-4D30-B8E2-86522827C01B}" type="presParOf" srcId="{0BF78FBB-D317-446E-9AD3-DB8B8F00D801}" destId="{8606E31A-87FF-4F89-A1A8-D4BFAFE6E5CF}" srcOrd="7" destOrd="0" presId="urn:microsoft.com/office/officeart/2005/8/layout/orgChart1"/>
    <dgm:cxn modelId="{3973B5C2-3B88-4942-9A3E-CEF6078490BC}" type="presParOf" srcId="{8606E31A-87FF-4F89-A1A8-D4BFAFE6E5CF}" destId="{39A21E7D-5FD2-4C1B-AC1E-B463EE3413BD}" srcOrd="0" destOrd="0" presId="urn:microsoft.com/office/officeart/2005/8/layout/orgChart1"/>
    <dgm:cxn modelId="{7C05F720-4694-4692-AE65-DC91682107A0}" type="presParOf" srcId="{39A21E7D-5FD2-4C1B-AC1E-B463EE3413BD}" destId="{F64A5C08-9C7D-4E71-AB14-8CF1F43E6643}" srcOrd="0" destOrd="0" presId="urn:microsoft.com/office/officeart/2005/8/layout/orgChart1"/>
    <dgm:cxn modelId="{56E9DD6A-3A86-488D-8F3A-BCCB6734C387}" type="presParOf" srcId="{39A21E7D-5FD2-4C1B-AC1E-B463EE3413BD}" destId="{F6DBE938-79ED-4BB6-B601-50EF87574107}" srcOrd="1" destOrd="0" presId="urn:microsoft.com/office/officeart/2005/8/layout/orgChart1"/>
    <dgm:cxn modelId="{BFDD75D3-BBA8-489C-A0F1-A6F55178B1C5}" type="presParOf" srcId="{8606E31A-87FF-4F89-A1A8-D4BFAFE6E5CF}" destId="{C7C486AB-F20B-4403-937C-53D534A14EF0}" srcOrd="1" destOrd="0" presId="urn:microsoft.com/office/officeart/2005/8/layout/orgChart1"/>
    <dgm:cxn modelId="{0E7F4435-8123-4787-B9B3-5DB74B5502F0}" type="presParOf" srcId="{C7C486AB-F20B-4403-937C-53D534A14EF0}" destId="{1DDDFFC9-E5A8-4087-9E95-1FB681DF4CC5}" srcOrd="0" destOrd="0" presId="urn:microsoft.com/office/officeart/2005/8/layout/orgChart1"/>
    <dgm:cxn modelId="{C0DA226C-EF21-4D82-B08A-AD4CDFA3084B}" type="presParOf" srcId="{C7C486AB-F20B-4403-937C-53D534A14EF0}" destId="{74B48534-0830-4C78-8D0F-CEB92F1760D5}" srcOrd="1" destOrd="0" presId="urn:microsoft.com/office/officeart/2005/8/layout/orgChart1"/>
    <dgm:cxn modelId="{8776F42F-FD30-445F-B327-BFFA506DCD8A}" type="presParOf" srcId="{74B48534-0830-4C78-8D0F-CEB92F1760D5}" destId="{A1717F5A-B3B3-4867-9B2B-B647838EE0A5}" srcOrd="0" destOrd="0" presId="urn:microsoft.com/office/officeart/2005/8/layout/orgChart1"/>
    <dgm:cxn modelId="{269B1CEC-E79B-47AB-ADF7-53E76F1A5F50}" type="presParOf" srcId="{A1717F5A-B3B3-4867-9B2B-B647838EE0A5}" destId="{5FD5C512-6516-47ED-9F8C-384FE16B7384}" srcOrd="0" destOrd="0" presId="urn:microsoft.com/office/officeart/2005/8/layout/orgChart1"/>
    <dgm:cxn modelId="{D852BF57-7FD2-4ADA-9FFC-CC736E87879E}" type="presParOf" srcId="{A1717F5A-B3B3-4867-9B2B-B647838EE0A5}" destId="{B816DE43-F5B9-44F4-96FB-4400224641C9}" srcOrd="1" destOrd="0" presId="urn:microsoft.com/office/officeart/2005/8/layout/orgChart1"/>
    <dgm:cxn modelId="{9895B532-50D4-4E92-81D8-25B1458F3092}" type="presParOf" srcId="{74B48534-0830-4C78-8D0F-CEB92F1760D5}" destId="{9E1CC932-C84B-425A-9CA2-838019215862}" srcOrd="1" destOrd="0" presId="urn:microsoft.com/office/officeart/2005/8/layout/orgChart1"/>
    <dgm:cxn modelId="{885F91A7-1D44-4253-BDDC-C2E73D9D1CCD}" type="presParOf" srcId="{9E1CC932-C84B-425A-9CA2-838019215862}" destId="{521233A8-D573-4B60-A683-EDF0D588D1B0}" srcOrd="0" destOrd="0" presId="urn:microsoft.com/office/officeart/2005/8/layout/orgChart1"/>
    <dgm:cxn modelId="{F82E18ED-F7AD-4C83-973D-87633F127882}" type="presParOf" srcId="{9E1CC932-C84B-425A-9CA2-838019215862}" destId="{E0BD06EE-5594-42C7-BC30-731DAA94D2BA}" srcOrd="1" destOrd="0" presId="urn:microsoft.com/office/officeart/2005/8/layout/orgChart1"/>
    <dgm:cxn modelId="{AC85A2A8-990D-405A-928B-ECDE9462EAF0}" type="presParOf" srcId="{E0BD06EE-5594-42C7-BC30-731DAA94D2BA}" destId="{4ED81A1A-C4E5-4301-86B9-350A7D703552}" srcOrd="0" destOrd="0" presId="urn:microsoft.com/office/officeart/2005/8/layout/orgChart1"/>
    <dgm:cxn modelId="{DA5796D7-36DF-4F1D-BF63-50F8C2BBB47C}" type="presParOf" srcId="{4ED81A1A-C4E5-4301-86B9-350A7D703552}" destId="{B9693ECF-379B-46F1-BAA8-9600C9A06547}" srcOrd="0" destOrd="0" presId="urn:microsoft.com/office/officeart/2005/8/layout/orgChart1"/>
    <dgm:cxn modelId="{5C55A4E2-B1FB-408E-9668-A1615DC6E5E8}" type="presParOf" srcId="{4ED81A1A-C4E5-4301-86B9-350A7D703552}" destId="{424F4067-D8BB-48C6-9808-F81F05804206}" srcOrd="1" destOrd="0" presId="urn:microsoft.com/office/officeart/2005/8/layout/orgChart1"/>
    <dgm:cxn modelId="{685885A1-0642-43BD-9136-730404568620}" type="presParOf" srcId="{E0BD06EE-5594-42C7-BC30-731DAA94D2BA}" destId="{5DDC753C-8B00-497E-8252-D334A8C0BC7C}" srcOrd="1" destOrd="0" presId="urn:microsoft.com/office/officeart/2005/8/layout/orgChart1"/>
    <dgm:cxn modelId="{72F4A322-F654-4967-9481-3C7EC0572012}" type="presParOf" srcId="{E0BD06EE-5594-42C7-BC30-731DAA94D2BA}" destId="{0A103333-E84A-4D61-BD15-939EA6D9D10B}" srcOrd="2" destOrd="0" presId="urn:microsoft.com/office/officeart/2005/8/layout/orgChart1"/>
    <dgm:cxn modelId="{A632D1FC-89FF-41A7-BC68-4A9A424E5F20}" type="presParOf" srcId="{9E1CC932-C84B-425A-9CA2-838019215862}" destId="{12EC1DF9-C0B9-4358-AD1C-271BC88AAD04}" srcOrd="2" destOrd="0" presId="urn:microsoft.com/office/officeart/2005/8/layout/orgChart1"/>
    <dgm:cxn modelId="{D0E248ED-1B8D-45A5-9F23-647AA0876489}" type="presParOf" srcId="{9E1CC932-C84B-425A-9CA2-838019215862}" destId="{E5BE6DC1-0A8F-4F72-9252-2DA87A175637}" srcOrd="3" destOrd="0" presId="urn:microsoft.com/office/officeart/2005/8/layout/orgChart1"/>
    <dgm:cxn modelId="{A636532D-C4F3-4BE7-8315-DFC029062ABE}" type="presParOf" srcId="{E5BE6DC1-0A8F-4F72-9252-2DA87A175637}" destId="{43AF2A9B-D83F-4F77-8174-14C30D694409}" srcOrd="0" destOrd="0" presId="urn:microsoft.com/office/officeart/2005/8/layout/orgChart1"/>
    <dgm:cxn modelId="{8DABAE23-6C30-444B-BAC7-A8C938E8158B}" type="presParOf" srcId="{43AF2A9B-D83F-4F77-8174-14C30D694409}" destId="{45125ABD-33BD-40C4-AB3D-5B2FB9BE1271}" srcOrd="0" destOrd="0" presId="urn:microsoft.com/office/officeart/2005/8/layout/orgChart1"/>
    <dgm:cxn modelId="{186C903F-8F61-488E-B74F-10085BD62CCD}" type="presParOf" srcId="{43AF2A9B-D83F-4F77-8174-14C30D694409}" destId="{DCBC27F5-F150-43A1-9627-E35936BED7C3}" srcOrd="1" destOrd="0" presId="urn:microsoft.com/office/officeart/2005/8/layout/orgChart1"/>
    <dgm:cxn modelId="{9C8242C0-5366-4FB6-A9C7-410989084F2C}" type="presParOf" srcId="{E5BE6DC1-0A8F-4F72-9252-2DA87A175637}" destId="{0E7C9538-6B6D-483D-9F1F-8CCDFBDE41D4}" srcOrd="1" destOrd="0" presId="urn:microsoft.com/office/officeart/2005/8/layout/orgChart1"/>
    <dgm:cxn modelId="{A7014FCA-C294-4ABA-8E65-FA3424079197}" type="presParOf" srcId="{E5BE6DC1-0A8F-4F72-9252-2DA87A175637}" destId="{E5D9E7E1-66B4-4EB8-9FF5-7C30CA669C72}" srcOrd="2" destOrd="0" presId="urn:microsoft.com/office/officeart/2005/8/layout/orgChart1"/>
    <dgm:cxn modelId="{937132A1-00FA-4FBE-93B5-B37EB9DB7F49}" type="presParOf" srcId="{9E1CC932-C84B-425A-9CA2-838019215862}" destId="{13BFD89B-F024-46EC-82CB-922FA2F1BE4E}" srcOrd="4" destOrd="0" presId="urn:microsoft.com/office/officeart/2005/8/layout/orgChart1"/>
    <dgm:cxn modelId="{588FC9CF-66A8-480D-AD35-054627407DAB}" type="presParOf" srcId="{9E1CC932-C84B-425A-9CA2-838019215862}" destId="{B1AF9ECA-69F6-4BAC-89F7-85280CE6785C}" srcOrd="5" destOrd="0" presId="urn:microsoft.com/office/officeart/2005/8/layout/orgChart1"/>
    <dgm:cxn modelId="{9987A580-3371-4896-8286-D107AAA3E4BA}" type="presParOf" srcId="{B1AF9ECA-69F6-4BAC-89F7-85280CE6785C}" destId="{F8F118DC-5D29-4B48-B127-2D2520A38F69}" srcOrd="0" destOrd="0" presId="urn:microsoft.com/office/officeart/2005/8/layout/orgChart1"/>
    <dgm:cxn modelId="{F9699F03-131E-4AE5-A9FE-2A1956D2E4C8}" type="presParOf" srcId="{F8F118DC-5D29-4B48-B127-2D2520A38F69}" destId="{27581EA2-D022-49F0-8DFE-F2E741585E66}" srcOrd="0" destOrd="0" presId="urn:microsoft.com/office/officeart/2005/8/layout/orgChart1"/>
    <dgm:cxn modelId="{28B13061-8BB4-419E-B83F-2C95F7E0A5CC}" type="presParOf" srcId="{F8F118DC-5D29-4B48-B127-2D2520A38F69}" destId="{1DFF8F46-91E3-41A5-AE46-734B03F58C00}" srcOrd="1" destOrd="0" presId="urn:microsoft.com/office/officeart/2005/8/layout/orgChart1"/>
    <dgm:cxn modelId="{44C28152-0064-4902-A2AF-2B21B664C24C}" type="presParOf" srcId="{B1AF9ECA-69F6-4BAC-89F7-85280CE6785C}" destId="{66355B54-B227-4E62-891B-13B39B3781DA}" srcOrd="1" destOrd="0" presId="urn:microsoft.com/office/officeart/2005/8/layout/orgChart1"/>
    <dgm:cxn modelId="{5B33CA0C-B46D-4002-8F7B-E0F1F75753FD}" type="presParOf" srcId="{B1AF9ECA-69F6-4BAC-89F7-85280CE6785C}" destId="{0FCCB5A1-490D-45CB-8170-FC1AFCB66555}" srcOrd="2" destOrd="0" presId="urn:microsoft.com/office/officeart/2005/8/layout/orgChart1"/>
    <dgm:cxn modelId="{31F289A4-D99F-4466-80DC-7620697B140C}" type="presParOf" srcId="{74B48534-0830-4C78-8D0F-CEB92F1760D5}" destId="{018ED94A-44C2-4EE1-A693-1CE607805FA0}" srcOrd="2" destOrd="0" presId="urn:microsoft.com/office/officeart/2005/8/layout/orgChart1"/>
    <dgm:cxn modelId="{DBD0CC4F-F1F4-4020-92BE-E81087E09709}" type="presParOf" srcId="{8606E31A-87FF-4F89-A1A8-D4BFAFE6E5CF}" destId="{CF1DE82E-D3F6-45EB-9840-D791AA4DE707}" srcOrd="2" destOrd="0" presId="urn:microsoft.com/office/officeart/2005/8/layout/orgChart1"/>
    <dgm:cxn modelId="{2BD18750-22A4-4F78-B0D3-CA62A47B06E9}" type="presParOf" srcId="{46FF936B-8170-4A2A-913C-17A225348A7D}" destId="{37666F81-7E92-4D67-932F-6A797ACDBA5C}" srcOrd="2" destOrd="0" presId="urn:microsoft.com/office/officeart/2005/8/layout/orgChart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3E9BD3-BBF8-47F9-9C1B-0349D236F3D7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D0E7357C-0F89-42A3-ACC2-97DE8F12497B}">
      <dgm:prSet phldrT="[텍스트]" custT="1"/>
      <dgm:spPr>
        <a:solidFill>
          <a:schemeClr val="bg1">
            <a:lumMod val="65000"/>
          </a:schemeClr>
        </a:solidFill>
      </dgm:spPr>
      <dgm:t>
        <a:bodyPr/>
        <a:lstStyle/>
        <a:p>
          <a:pPr rtl="0"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6FD6AAE-BB93-465D-A3ED-F3202652F5DE}" type="parTrans" cxnId="{39801674-90FC-42AB-96E2-29EA19E669DC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CB72FC68-595B-4EA7-BFE7-B5DF638B56D7}" type="sibTrans" cxnId="{39801674-90FC-42AB-96E2-29EA19E669DC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D9100671-4CB5-4820-B7B4-4B271219FE40}">
      <dgm:prSet phldrT="[텍스트]"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FE4C2277-3322-4A9A-A65D-A29A82815C0B}" type="parTrans" cxnId="{2D47FD8C-6379-4E8F-AFF8-1481E2684F09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F23F7E79-4337-4D3C-B7A7-04418D03F494}" type="sibTrans" cxnId="{2D47FD8C-6379-4E8F-AFF8-1481E2684F09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01D388E7-1A65-41B1-B0F3-C1E8B9DFB691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9DD73ED-3BDB-4C52-853A-36FC0EA20AF7}" type="parTrans" cxnId="{5E3804EF-67B2-497D-A58A-2C398015D9D3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1ADB565-FA05-4214-A206-8AD5296249CC}" type="sibTrans" cxnId="{5E3804EF-67B2-497D-A58A-2C398015D9D3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0CBB08E-EF13-4941-91EA-CE35D6A9BC7C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B01CBABA-8942-409E-8096-D3A4E82429D2}" type="parTrans" cxnId="{A009B698-9B16-41F8-9BE8-D3CC7E4534C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7171398-A037-4F85-B3C0-77F965A19C2A}" type="sibTrans" cxnId="{A009B698-9B16-41F8-9BE8-D3CC7E4534CA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40FF39DC-82F8-41CA-B7B9-CC56D9A5B34B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16CFFC99-9FC8-48B6-901B-664BBBB409D2}" type="parTrans" cxnId="{1426E032-F01D-46FE-8674-C89293DC5D1E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4E9D940-0D52-4098-8436-5E2DDB56F059}" type="sibTrans" cxnId="{1426E032-F01D-46FE-8674-C89293DC5D1E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CF8B66D-8174-4BE4-B419-64DC77D94A8C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22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년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4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월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66BBE48-F423-4813-B0B4-D043CA72629D}" type="parTrans" cxnId="{E0A014D0-84C4-4158-BA98-E14FC7CBC25B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430A65F5-7990-42BD-9FA4-31BBB54D3288}" type="sibTrans" cxnId="{E0A014D0-84C4-4158-BA98-E14FC7CBC25B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A508D72F-BE81-403F-8B18-3E4E4D4A58FB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PM-00001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905BB1F3-EB85-4C67-9B4B-D8FCD959CE3F}" type="parTrans" cxnId="{A3EEB189-9D7A-4A00-92C1-08F3A01D6DE9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AD63F243-4A0E-4266-8204-A29A4E3581F4}" type="sibTrans" cxnId="{A3EEB189-9D7A-4A00-92C1-08F3A01D6DE9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D17AFCDF-A84F-42C7-9568-98E7765CC252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>
            <a:lnSpc>
              <a:spcPct val="100000"/>
            </a:lnSpc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IT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신규 및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R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구축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  <a:sym typeface="아리따-돋움(OTF)-Medium"/>
          </a:endParaRPr>
        </a:p>
        <a:p>
          <a:pPr rtl="0" latinLnBrk="1">
            <a:lnSpc>
              <a:spcPct val="100000"/>
            </a:lnSpc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85C7D48A-DFF2-4084-80F0-1CF3758EFDF3}" type="parTrans" cxnId="{0CC164DB-CFBE-492E-8603-60C20E6D9455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1551EB1F-4DBE-45B7-AC97-98C798222F40}" type="sibTrans" cxnId="{0CC164DB-CFBE-492E-8603-60C20E6D9455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F47B722-8C74-4E42-959D-B200DD9A042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정기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/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긴급배포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 또는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PP 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F93C97F4-BFB9-4CC0-9E4E-8D85C7FC5B0C}" type="parTrans" cxnId="{D662C907-0162-40AD-8466-F1C2AD9E9A76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828F8D8-B92D-4B85-882F-546C78C90802}" type="sibTrans" cxnId="{D662C907-0162-40AD-8466-F1C2AD9E9A76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50CF7D8C-7ED1-4102-8347-F71CA316740F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상시 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1161B3C3-4CC8-4D03-9228-213AB69E18C5}" type="parTrans" cxnId="{1DE6F2BC-D70B-416F-90F7-823766003BF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183EBCF5-23D5-4929-8430-8C3D8B7BD2FC}" type="sibTrans" cxnId="{1DE6F2BC-D70B-416F-90F7-823766003BFA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9B11A98-9D33-4B61-A1C4-0BD1F530C062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2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TQA</a:t>
          </a:r>
          <a:endParaRPr lang="ko-KR" altLang="en-US" sz="12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0619E98-0026-4190-8EED-D055608813CA}" type="parTrans" cxnId="{5C668A27-0896-43EC-9B7C-56D91B3B41F1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E8B20800-3E57-47DA-A3C1-8C60357C4E1C}" type="sibTrans" cxnId="{5C668A27-0896-43EC-9B7C-56D91B3B41F1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0D3039E0-1F69-4B7D-8F76-2E7447C24984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정기배포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3CC58F7F-98F9-4AED-BB13-A65BDD0646EB}" type="parTrans" cxnId="{5554ECEB-5513-4B23-87A6-C9DF9711686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D7888A5-B01E-43C6-AB9D-1957986F30DA}" type="sibTrans" cxnId="{5554ECEB-5513-4B23-87A6-C9DF9711686A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C31E7C3-114E-4286-84A2-A110F22834EB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rchive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F44C7AA9-9F5F-48E8-AEE9-3E681611FE7C}" type="parTrans" cxnId="{3464B9FA-FA54-4B66-959A-7509EEA24490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C356CC7-8B81-417D-A9D2-F9B28D77A969}" type="sibTrans" cxnId="{3464B9FA-FA54-4B66-959A-7509EEA24490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5DC873E-897D-433D-9120-E4E8252E3464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0D74438D-83A6-4DFC-B066-5D2EF9276D91}" type="parTrans" cxnId="{48F16EB4-DADF-4EEC-9088-BA9CB3229E92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CFBC1B8-A400-4DE1-87B4-C8F41478FFA2}" type="sibTrans" cxnId="{48F16EB4-DADF-4EEC-9088-BA9CB3229E92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39184ACB-53D6-445A-AD12-8D8BCB1587C1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9C7F346A-437B-4622-B2CB-A62EDC53B5B1}" type="parTrans" cxnId="{DD691126-6990-4B92-ACD1-0CC7B2D7028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4F6FEC0-E786-497E-BD1C-385894A5C863}" type="sibTrans" cxnId="{DD691126-6990-4B92-ACD1-0CC7B2D7028A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E35C69FE-8821-4D81-88AA-42C379C36929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CDF14963-0031-4A51-A5C3-5FFAF5A82E9F}" type="parTrans" cxnId="{DA5C012F-038F-4CA0-8FB8-C740E7C9DA0F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B53EF74-0FEA-4CCA-8688-8CC2824417A4}" type="sibTrans" cxnId="{DA5C012F-038F-4CA0-8FB8-C740E7C9DA0F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7809B1E-ACB5-4EC5-8764-214E4EEC1B00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>
            <a:lnSpc>
              <a:spcPct val="100000"/>
            </a:lnSpc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미사용 테스트케이스 또는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  <a:p>
          <a:pPr latinLnBrk="1">
            <a:lnSpc>
              <a:spcPct val="100000"/>
            </a:lnSpc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종료된 프로젝트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DB071331-65AC-4F4B-88A1-73AB9E168912}" type="parTrans" cxnId="{2DDDE7FB-8642-443A-8FCC-8E852824C141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E13D3EDC-40B0-463F-B6CC-18DD77830A21}" type="sibTrans" cxnId="{2DDDE7FB-8642-443A-8FCC-8E852824C141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73386C65-C094-48CF-87A9-FF1C7BA19C92}">
      <dgm:prSet custT="1"/>
      <dgm:spPr>
        <a:solidFill>
          <a:schemeClr val="bg1">
            <a:lumMod val="65000"/>
          </a:schemeClr>
        </a:solidFill>
        <a:ln>
          <a:noFill/>
        </a:ln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_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정기배포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_220401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A7841DCF-985E-4315-8A88-049275F106D7}" type="parTrans" cxnId="{532B0885-89D5-482C-983B-E3F8850342DB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3EE5A89D-8A2A-4A31-A93C-171303DBEB8D}" type="sibTrans" cxnId="{532B0885-89D5-482C-983B-E3F8850342DB}">
      <dgm:prSet/>
      <dgm:spPr/>
      <dgm:t>
        <a:bodyPr/>
        <a:lstStyle/>
        <a:p>
          <a:pPr latinLnBrk="1"/>
          <a:endParaRPr lang="ko-KR" altLang="en-US"/>
        </a:p>
      </dgm:t>
    </dgm:pt>
    <dgm:pt modelId="{398E9BCF-C768-462A-9BB8-E58EF94C9791}" type="pres">
      <dgm:prSet presAssocID="{AF3E9BD3-BBF8-47F9-9C1B-0349D236F3D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6FF936B-8170-4A2A-913C-17A225348A7D}" type="pres">
      <dgm:prSet presAssocID="{29B11A98-9D33-4B61-A1C4-0BD1F530C062}" presName="hierRoot1" presStyleCnt="0">
        <dgm:presLayoutVars>
          <dgm:hierBranch val="init"/>
        </dgm:presLayoutVars>
      </dgm:prSet>
      <dgm:spPr/>
    </dgm:pt>
    <dgm:pt modelId="{DA9A4186-AF46-462D-AE70-284078B8564B}" type="pres">
      <dgm:prSet presAssocID="{29B11A98-9D33-4B61-A1C4-0BD1F530C062}" presName="rootComposite1" presStyleCnt="0"/>
      <dgm:spPr/>
    </dgm:pt>
    <dgm:pt modelId="{5197FF8D-FC58-4291-A413-97D4B3FFC8DA}" type="pres">
      <dgm:prSet presAssocID="{29B11A98-9D33-4B61-A1C4-0BD1F530C062}" presName="rootText1" presStyleLbl="node0" presStyleIdx="0" presStyleCnt="1" custScaleX="134066" custScaleY="72339" custLinFactNeighborY="-1621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70D5FEC-0549-4E44-BEF7-3C055DD5E0EB}" type="pres">
      <dgm:prSet presAssocID="{29B11A98-9D33-4B61-A1C4-0BD1F530C062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0BF78FBB-D317-446E-9AD3-DB8B8F00D801}" type="pres">
      <dgm:prSet presAssocID="{29B11A98-9D33-4B61-A1C4-0BD1F530C062}" presName="hierChild2" presStyleCnt="0"/>
      <dgm:spPr/>
    </dgm:pt>
    <dgm:pt modelId="{7BC8F406-0DC9-45A7-B698-8C9D764F5402}" type="pres">
      <dgm:prSet presAssocID="{85C7D48A-DFF2-4084-80F0-1CF3758EFDF3}" presName="Name37" presStyleLbl="parChTrans1D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78526B1E-FFBC-43D5-ACAB-EF8344C937F6}" type="pres">
      <dgm:prSet presAssocID="{D17AFCDF-A84F-42C7-9568-98E7765CC252}" presName="hierRoot2" presStyleCnt="0">
        <dgm:presLayoutVars>
          <dgm:hierBranch val="init"/>
        </dgm:presLayoutVars>
      </dgm:prSet>
      <dgm:spPr/>
    </dgm:pt>
    <dgm:pt modelId="{2A128AAE-DE8B-4E5D-AB0C-7841B607A826}" type="pres">
      <dgm:prSet presAssocID="{D17AFCDF-A84F-42C7-9568-98E7765CC252}" presName="rootComposite" presStyleCnt="0"/>
      <dgm:spPr/>
    </dgm:pt>
    <dgm:pt modelId="{5AEC8923-A78B-4727-9ED7-DE90C1D72093}" type="pres">
      <dgm:prSet presAssocID="{D17AFCDF-A84F-42C7-9568-98E7765CC252}" presName="rootText" presStyleLbl="node2" presStyleIdx="0" presStyleCnt="4" custScaleX="126830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AAD8B09-C8BE-4781-80CB-CD68113FA53E}" type="pres">
      <dgm:prSet presAssocID="{D17AFCDF-A84F-42C7-9568-98E7765CC252}" presName="rootConnector" presStyleLbl="node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C90D97AC-CE11-49EE-AAEC-588FFD175229}" type="pres">
      <dgm:prSet presAssocID="{D17AFCDF-A84F-42C7-9568-98E7765CC252}" presName="hierChild4" presStyleCnt="0"/>
      <dgm:spPr/>
    </dgm:pt>
    <dgm:pt modelId="{32A11FE5-1E99-4AA1-95A6-D2087475E7BF}" type="pres">
      <dgm:prSet presAssocID="{26FD6AAE-BB93-465D-A3ED-F3202652F5DE}" presName="Name37" presStyleLbl="parChTrans1D3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26F1DFD7-6176-45F3-8276-11ADA6DCB685}" type="pres">
      <dgm:prSet presAssocID="{D0E7357C-0F89-42A3-ACC2-97DE8F12497B}" presName="hierRoot2" presStyleCnt="0">
        <dgm:presLayoutVars>
          <dgm:hierBranch val="init"/>
        </dgm:presLayoutVars>
      </dgm:prSet>
      <dgm:spPr/>
    </dgm:pt>
    <dgm:pt modelId="{53453E6A-98E0-4161-91AD-E61F8BA68171}" type="pres">
      <dgm:prSet presAssocID="{D0E7357C-0F89-42A3-ACC2-97DE8F12497B}" presName="rootComposite" presStyleCnt="0"/>
      <dgm:spPr/>
    </dgm:pt>
    <dgm:pt modelId="{06706562-2085-4C5D-9F32-D879389E4EC6}" type="pres">
      <dgm:prSet presAssocID="{D0E7357C-0F89-42A3-ACC2-97DE8F12497B}" presName="rootText" presStyleLbl="node3" presStyleIdx="0" presStyleCnt="4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8054045-13C6-4793-90B2-93AE757394FE}" type="pres">
      <dgm:prSet presAssocID="{D0E7357C-0F89-42A3-ACC2-97DE8F12497B}" presName="rootConnector" presStyleLbl="node3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971B6693-7855-404E-BAE7-F8CD561D6D63}" type="pres">
      <dgm:prSet presAssocID="{D0E7357C-0F89-42A3-ACC2-97DE8F12497B}" presName="hierChild4" presStyleCnt="0"/>
      <dgm:spPr/>
    </dgm:pt>
    <dgm:pt modelId="{698508D6-C93E-4E49-A7B9-B4DA6FBDF86C}" type="pres">
      <dgm:prSet presAssocID="{FE4C2277-3322-4A9A-A65D-A29A82815C0B}" presName="Name37" presStyleLbl="parChTrans1D4" presStyleIdx="0" presStyleCnt="9"/>
      <dgm:spPr/>
      <dgm:t>
        <a:bodyPr/>
        <a:lstStyle/>
        <a:p>
          <a:pPr latinLnBrk="1"/>
          <a:endParaRPr lang="ko-KR" altLang="en-US"/>
        </a:p>
      </dgm:t>
    </dgm:pt>
    <dgm:pt modelId="{B15BDACE-8935-4836-A28A-52D1BEBC4661}" type="pres">
      <dgm:prSet presAssocID="{D9100671-4CB5-4820-B7B4-4B271219FE40}" presName="hierRoot2" presStyleCnt="0">
        <dgm:presLayoutVars>
          <dgm:hierBranch val="init"/>
        </dgm:presLayoutVars>
      </dgm:prSet>
      <dgm:spPr/>
    </dgm:pt>
    <dgm:pt modelId="{0936F836-F7D1-4462-A72D-0A876A9DCC62}" type="pres">
      <dgm:prSet presAssocID="{D9100671-4CB5-4820-B7B4-4B271219FE40}" presName="rootComposite" presStyleCnt="0"/>
      <dgm:spPr/>
    </dgm:pt>
    <dgm:pt modelId="{366FD547-57D6-420F-8969-85C85847F670}" type="pres">
      <dgm:prSet presAssocID="{D9100671-4CB5-4820-B7B4-4B271219FE40}" presName="rootText" presStyleLbl="node4" presStyleIdx="0" presStyleCnt="9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B94A250-EE4C-4630-9677-2500B1056E16}" type="pres">
      <dgm:prSet presAssocID="{D9100671-4CB5-4820-B7B4-4B271219FE40}" presName="rootConnector" presStyleLbl="node4" presStyleIdx="0" presStyleCnt="9"/>
      <dgm:spPr/>
      <dgm:t>
        <a:bodyPr/>
        <a:lstStyle/>
        <a:p>
          <a:pPr latinLnBrk="1"/>
          <a:endParaRPr lang="ko-KR" altLang="en-US"/>
        </a:p>
      </dgm:t>
    </dgm:pt>
    <dgm:pt modelId="{BC0E8686-C84C-4FAD-A7B0-739E912D23F8}" type="pres">
      <dgm:prSet presAssocID="{D9100671-4CB5-4820-B7B4-4B271219FE40}" presName="hierChild4" presStyleCnt="0"/>
      <dgm:spPr/>
    </dgm:pt>
    <dgm:pt modelId="{2D029B3C-3925-4BAB-B7CE-DDBF143FAE99}" type="pres">
      <dgm:prSet presAssocID="{905BB1F3-EB85-4C67-9B4B-D8FCD959CE3F}" presName="Name37" presStyleLbl="parChTrans1D4" presStyleIdx="1" presStyleCnt="9"/>
      <dgm:spPr/>
      <dgm:t>
        <a:bodyPr/>
        <a:lstStyle/>
        <a:p>
          <a:pPr latinLnBrk="1"/>
          <a:endParaRPr lang="ko-KR" altLang="en-US"/>
        </a:p>
      </dgm:t>
    </dgm:pt>
    <dgm:pt modelId="{1D7DBBC8-7104-4AE1-8227-AE532A445ECF}" type="pres">
      <dgm:prSet presAssocID="{A508D72F-BE81-403F-8B18-3E4E4D4A58FB}" presName="hierRoot2" presStyleCnt="0">
        <dgm:presLayoutVars>
          <dgm:hierBranch val="init"/>
        </dgm:presLayoutVars>
      </dgm:prSet>
      <dgm:spPr/>
    </dgm:pt>
    <dgm:pt modelId="{21DA3123-FEB3-4918-BE8A-C4914DBBE847}" type="pres">
      <dgm:prSet presAssocID="{A508D72F-BE81-403F-8B18-3E4E4D4A58FB}" presName="rootComposite" presStyleCnt="0"/>
      <dgm:spPr/>
    </dgm:pt>
    <dgm:pt modelId="{DBB318E6-0EF9-497A-8A98-B81193AEB0FD}" type="pres">
      <dgm:prSet presAssocID="{A508D72F-BE81-403F-8B18-3E4E4D4A58FB}" presName="rootText" presStyleLbl="node4" presStyleIdx="1" presStyleCnt="9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A6590FC-A54C-4CD1-9E38-DB6377E0B842}" type="pres">
      <dgm:prSet presAssocID="{A508D72F-BE81-403F-8B18-3E4E4D4A58FB}" presName="rootConnector" presStyleLbl="node4" presStyleIdx="1" presStyleCnt="9"/>
      <dgm:spPr/>
      <dgm:t>
        <a:bodyPr/>
        <a:lstStyle/>
        <a:p>
          <a:pPr latinLnBrk="1"/>
          <a:endParaRPr lang="ko-KR" altLang="en-US"/>
        </a:p>
      </dgm:t>
    </dgm:pt>
    <dgm:pt modelId="{2969455F-5146-4786-8974-30701613F8E5}" type="pres">
      <dgm:prSet presAssocID="{A508D72F-BE81-403F-8B18-3E4E4D4A58FB}" presName="hierChild4" presStyleCnt="0"/>
      <dgm:spPr/>
    </dgm:pt>
    <dgm:pt modelId="{16440DD0-E5DE-46B7-8BA1-09C08D6D92DF}" type="pres">
      <dgm:prSet presAssocID="{A508D72F-BE81-403F-8B18-3E4E4D4A58FB}" presName="hierChild5" presStyleCnt="0"/>
      <dgm:spPr/>
    </dgm:pt>
    <dgm:pt modelId="{6FA85FFE-0E29-4D3A-8559-9333DFFC306A}" type="pres">
      <dgm:prSet presAssocID="{D9100671-4CB5-4820-B7B4-4B271219FE40}" presName="hierChild5" presStyleCnt="0"/>
      <dgm:spPr/>
    </dgm:pt>
    <dgm:pt modelId="{290416AC-1979-4604-9930-F25DD712C390}" type="pres">
      <dgm:prSet presAssocID="{D0E7357C-0F89-42A3-ACC2-97DE8F12497B}" presName="hierChild5" presStyleCnt="0"/>
      <dgm:spPr/>
    </dgm:pt>
    <dgm:pt modelId="{CD5488BC-8F6C-4A2E-9431-200F8E798A8F}" type="pres">
      <dgm:prSet presAssocID="{D17AFCDF-A84F-42C7-9568-98E7765CC252}" presName="hierChild5" presStyleCnt="0"/>
      <dgm:spPr/>
    </dgm:pt>
    <dgm:pt modelId="{E3F6FB8C-F2C7-4BA2-AA1B-64E02C01B378}" type="pres">
      <dgm:prSet presAssocID="{F93C97F4-BFB9-4CC0-9E4E-8D85C7FC5B0C}" presName="Name37" presStyleLbl="parChTrans1D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2CDBDA91-9AC1-4682-8296-1038470C176C}" type="pres">
      <dgm:prSet presAssocID="{8F47B722-8C74-4E42-959D-B200DD9A0423}" presName="hierRoot2" presStyleCnt="0">
        <dgm:presLayoutVars>
          <dgm:hierBranch val="init"/>
        </dgm:presLayoutVars>
      </dgm:prSet>
      <dgm:spPr/>
    </dgm:pt>
    <dgm:pt modelId="{1B3E4DFD-B199-410F-8F3C-2FD61C72253D}" type="pres">
      <dgm:prSet presAssocID="{8F47B722-8C74-4E42-959D-B200DD9A0423}" presName="rootComposite" presStyleCnt="0"/>
      <dgm:spPr/>
    </dgm:pt>
    <dgm:pt modelId="{8A7301E4-6839-4A0B-BBD5-6C11DD40797D}" type="pres">
      <dgm:prSet presAssocID="{8F47B722-8C74-4E42-959D-B200DD9A0423}" presName="rootText" presStyleLbl="node2" presStyleIdx="1" presStyleCnt="4" custScaleX="126830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F0CBA67-A219-4313-B4DC-C4682C06DE52}" type="pres">
      <dgm:prSet presAssocID="{8F47B722-8C74-4E42-959D-B200DD9A0423}" presName="rootConnector" presStyleLbl="node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4AA8A3AB-1233-4958-8CFE-0A4B7E231FF3}" type="pres">
      <dgm:prSet presAssocID="{8F47B722-8C74-4E42-959D-B200DD9A0423}" presName="hierChild4" presStyleCnt="0"/>
      <dgm:spPr/>
    </dgm:pt>
    <dgm:pt modelId="{6DF3FE2B-F1DA-4413-8913-2B9E5EE9BE1A}" type="pres">
      <dgm:prSet presAssocID="{29DD73ED-3BDB-4C52-853A-36FC0EA20AF7}" presName="Name37" presStyleLbl="parChTrans1D3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54B3288E-B666-4374-923C-D90F5AEE32CD}" type="pres">
      <dgm:prSet presAssocID="{01D388E7-1A65-41B1-B0F3-C1E8B9DFB691}" presName="hierRoot2" presStyleCnt="0">
        <dgm:presLayoutVars>
          <dgm:hierBranch val="init"/>
        </dgm:presLayoutVars>
      </dgm:prSet>
      <dgm:spPr/>
    </dgm:pt>
    <dgm:pt modelId="{D06B4687-D0A7-4E1D-AC27-97BC1EDCED1C}" type="pres">
      <dgm:prSet presAssocID="{01D388E7-1A65-41B1-B0F3-C1E8B9DFB691}" presName="rootComposite" presStyleCnt="0"/>
      <dgm:spPr/>
    </dgm:pt>
    <dgm:pt modelId="{14C0F6B3-7708-4CAD-B8EC-E9A689648763}" type="pres">
      <dgm:prSet presAssocID="{01D388E7-1A65-41B1-B0F3-C1E8B9DFB691}" presName="rootText" presStyleLbl="node3" presStyleIdx="1" presStyleCnt="4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3F6EC11-8BB0-4EB2-9B75-2CB751E9AFFE}" type="pres">
      <dgm:prSet presAssocID="{01D388E7-1A65-41B1-B0F3-C1E8B9DFB691}" presName="rootConnector" presStyleLbl="node3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8DAC05B8-3347-401A-AC34-1F37CAA9A202}" type="pres">
      <dgm:prSet presAssocID="{01D388E7-1A65-41B1-B0F3-C1E8B9DFB691}" presName="hierChild4" presStyleCnt="0"/>
      <dgm:spPr/>
    </dgm:pt>
    <dgm:pt modelId="{25490263-AA39-456D-B8BE-13FAC661C19E}" type="pres">
      <dgm:prSet presAssocID="{16CFFC99-9FC8-48B6-901B-664BBBB409D2}" presName="Name37" presStyleLbl="parChTrans1D4" presStyleIdx="2" presStyleCnt="9"/>
      <dgm:spPr/>
      <dgm:t>
        <a:bodyPr/>
        <a:lstStyle/>
        <a:p>
          <a:pPr latinLnBrk="1"/>
          <a:endParaRPr lang="ko-KR" altLang="en-US"/>
        </a:p>
      </dgm:t>
    </dgm:pt>
    <dgm:pt modelId="{A7623238-7A87-444A-BECE-36F25C02AB04}" type="pres">
      <dgm:prSet presAssocID="{40FF39DC-82F8-41CA-B7B9-CC56D9A5B34B}" presName="hierRoot2" presStyleCnt="0">
        <dgm:presLayoutVars>
          <dgm:hierBranch val="init"/>
        </dgm:presLayoutVars>
      </dgm:prSet>
      <dgm:spPr/>
    </dgm:pt>
    <dgm:pt modelId="{F128C1E1-4636-499A-8DDA-C929293BCC95}" type="pres">
      <dgm:prSet presAssocID="{40FF39DC-82F8-41CA-B7B9-CC56D9A5B34B}" presName="rootComposite" presStyleCnt="0"/>
      <dgm:spPr/>
    </dgm:pt>
    <dgm:pt modelId="{09CA3129-8B94-4B14-958F-A7CA4D18A9B9}" type="pres">
      <dgm:prSet presAssocID="{40FF39DC-82F8-41CA-B7B9-CC56D9A5B34B}" presName="rootText" presStyleLbl="node4" presStyleIdx="2" presStyleCnt="9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135482C-7C3E-4A3A-AB63-C361DE474E45}" type="pres">
      <dgm:prSet presAssocID="{40FF39DC-82F8-41CA-B7B9-CC56D9A5B34B}" presName="rootConnector" presStyleLbl="node4" presStyleIdx="2" presStyleCnt="9"/>
      <dgm:spPr/>
      <dgm:t>
        <a:bodyPr/>
        <a:lstStyle/>
        <a:p>
          <a:pPr latinLnBrk="1"/>
          <a:endParaRPr lang="ko-KR" altLang="en-US"/>
        </a:p>
      </dgm:t>
    </dgm:pt>
    <dgm:pt modelId="{CF744B91-7569-4802-944A-D4867A059610}" type="pres">
      <dgm:prSet presAssocID="{40FF39DC-82F8-41CA-B7B9-CC56D9A5B34B}" presName="hierChild4" presStyleCnt="0"/>
      <dgm:spPr/>
    </dgm:pt>
    <dgm:pt modelId="{7A2DCF16-4793-4F62-8615-1A86A0383840}" type="pres">
      <dgm:prSet presAssocID="{3CC58F7F-98F9-4AED-BB13-A65BDD0646EB}" presName="Name37" presStyleLbl="parChTrans1D4" presStyleIdx="3" presStyleCnt="9"/>
      <dgm:spPr/>
      <dgm:t>
        <a:bodyPr/>
        <a:lstStyle/>
        <a:p>
          <a:pPr latinLnBrk="1"/>
          <a:endParaRPr lang="ko-KR" altLang="en-US"/>
        </a:p>
      </dgm:t>
    </dgm:pt>
    <dgm:pt modelId="{E4FCECBF-E460-48FA-A15E-DCF2DC70EEBD}" type="pres">
      <dgm:prSet presAssocID="{0D3039E0-1F69-4B7D-8F76-2E7447C24984}" presName="hierRoot2" presStyleCnt="0">
        <dgm:presLayoutVars>
          <dgm:hierBranch val="init"/>
        </dgm:presLayoutVars>
      </dgm:prSet>
      <dgm:spPr/>
    </dgm:pt>
    <dgm:pt modelId="{1C00396D-C161-4B99-9732-5D9ED84D37CB}" type="pres">
      <dgm:prSet presAssocID="{0D3039E0-1F69-4B7D-8F76-2E7447C24984}" presName="rootComposite" presStyleCnt="0"/>
      <dgm:spPr/>
    </dgm:pt>
    <dgm:pt modelId="{1B6B3A2C-2B86-46D8-8C2F-D122B2AA83BF}" type="pres">
      <dgm:prSet presAssocID="{0D3039E0-1F69-4B7D-8F76-2E7447C24984}" presName="rootText" presStyleLbl="node4" presStyleIdx="3" presStyleCnt="9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3DFBC13-575B-44C5-9411-8C49A89188ED}" type="pres">
      <dgm:prSet presAssocID="{0D3039E0-1F69-4B7D-8F76-2E7447C24984}" presName="rootConnector" presStyleLbl="node4" presStyleIdx="3" presStyleCnt="9"/>
      <dgm:spPr/>
      <dgm:t>
        <a:bodyPr/>
        <a:lstStyle/>
        <a:p>
          <a:pPr latinLnBrk="1"/>
          <a:endParaRPr lang="ko-KR" altLang="en-US"/>
        </a:p>
      </dgm:t>
    </dgm:pt>
    <dgm:pt modelId="{E40509C5-A16B-48FF-B1F2-E683DC65CAEC}" type="pres">
      <dgm:prSet presAssocID="{0D3039E0-1F69-4B7D-8F76-2E7447C24984}" presName="hierChild4" presStyleCnt="0"/>
      <dgm:spPr/>
    </dgm:pt>
    <dgm:pt modelId="{00C1FD16-2F46-47BB-BF0F-C1D434EB35EE}" type="pres">
      <dgm:prSet presAssocID="{A7841DCF-985E-4315-8A88-049275F106D7}" presName="Name37" presStyleLbl="parChTrans1D4" presStyleIdx="4" presStyleCnt="9"/>
      <dgm:spPr/>
      <dgm:t>
        <a:bodyPr/>
        <a:lstStyle/>
        <a:p>
          <a:pPr latinLnBrk="1"/>
          <a:endParaRPr lang="ko-KR" altLang="en-US"/>
        </a:p>
      </dgm:t>
    </dgm:pt>
    <dgm:pt modelId="{A06EB592-63C2-4466-A8AD-17450E8479B6}" type="pres">
      <dgm:prSet presAssocID="{73386C65-C094-48CF-87A9-FF1C7BA19C92}" presName="hierRoot2" presStyleCnt="0">
        <dgm:presLayoutVars>
          <dgm:hierBranch val="init"/>
        </dgm:presLayoutVars>
      </dgm:prSet>
      <dgm:spPr/>
    </dgm:pt>
    <dgm:pt modelId="{F096C677-04DC-4D27-AAE7-612F20DF6EBA}" type="pres">
      <dgm:prSet presAssocID="{73386C65-C094-48CF-87A9-FF1C7BA19C92}" presName="rootComposite" presStyleCnt="0"/>
      <dgm:spPr/>
    </dgm:pt>
    <dgm:pt modelId="{0CEF3506-6E37-4655-993C-7C8FD251AC4E}" type="pres">
      <dgm:prSet presAssocID="{73386C65-C094-48CF-87A9-FF1C7BA19C92}" presName="rootText" presStyleLbl="node4" presStyleIdx="4" presStyleCnt="9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6805636-D31E-43BA-8879-D61E1A01CD81}" type="pres">
      <dgm:prSet presAssocID="{73386C65-C094-48CF-87A9-FF1C7BA19C92}" presName="rootConnector" presStyleLbl="node4" presStyleIdx="4" presStyleCnt="9"/>
      <dgm:spPr/>
      <dgm:t>
        <a:bodyPr/>
        <a:lstStyle/>
        <a:p>
          <a:pPr latinLnBrk="1"/>
          <a:endParaRPr lang="ko-KR" altLang="en-US"/>
        </a:p>
      </dgm:t>
    </dgm:pt>
    <dgm:pt modelId="{E8F82A9E-EE69-4207-AD52-B8FF3E26A3A7}" type="pres">
      <dgm:prSet presAssocID="{73386C65-C094-48CF-87A9-FF1C7BA19C92}" presName="hierChild4" presStyleCnt="0"/>
      <dgm:spPr/>
    </dgm:pt>
    <dgm:pt modelId="{8CEBFE10-552B-4804-AC47-003306650626}" type="pres">
      <dgm:prSet presAssocID="{73386C65-C094-48CF-87A9-FF1C7BA19C92}" presName="hierChild5" presStyleCnt="0"/>
      <dgm:spPr/>
    </dgm:pt>
    <dgm:pt modelId="{F075DDE6-0972-41D9-B707-D8687CA19B0A}" type="pres">
      <dgm:prSet presAssocID="{0D3039E0-1F69-4B7D-8F76-2E7447C24984}" presName="hierChild5" presStyleCnt="0"/>
      <dgm:spPr/>
    </dgm:pt>
    <dgm:pt modelId="{EEB5EBBD-A7A9-4BB5-A632-DFF511FD3D0A}" type="pres">
      <dgm:prSet presAssocID="{40FF39DC-82F8-41CA-B7B9-CC56D9A5B34B}" presName="hierChild5" presStyleCnt="0"/>
      <dgm:spPr/>
    </dgm:pt>
    <dgm:pt modelId="{0DBA6529-6650-4132-ACCC-7D7D69DC460D}" type="pres">
      <dgm:prSet presAssocID="{01D388E7-1A65-41B1-B0F3-C1E8B9DFB691}" presName="hierChild5" presStyleCnt="0"/>
      <dgm:spPr/>
    </dgm:pt>
    <dgm:pt modelId="{9E88C892-72D1-478E-AEF5-D0D8B808C5FF}" type="pres">
      <dgm:prSet presAssocID="{8F47B722-8C74-4E42-959D-B200DD9A0423}" presName="hierChild5" presStyleCnt="0"/>
      <dgm:spPr/>
    </dgm:pt>
    <dgm:pt modelId="{E68009D5-0F24-495C-B17E-71B0D4EE1A02}" type="pres">
      <dgm:prSet presAssocID="{1161B3C3-4CC8-4D03-9228-213AB69E18C5}" presName="Name37" presStyleLbl="parChTrans1D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7DA6822D-491A-44ED-B51B-1166D53CAABE}" type="pres">
      <dgm:prSet presAssocID="{50CF7D8C-7ED1-4102-8347-F71CA316740F}" presName="hierRoot2" presStyleCnt="0">
        <dgm:presLayoutVars>
          <dgm:hierBranch val="init"/>
        </dgm:presLayoutVars>
      </dgm:prSet>
      <dgm:spPr/>
    </dgm:pt>
    <dgm:pt modelId="{9CEF4D66-75FA-4B91-BFA0-248F2700F391}" type="pres">
      <dgm:prSet presAssocID="{50CF7D8C-7ED1-4102-8347-F71CA316740F}" presName="rootComposite" presStyleCnt="0"/>
      <dgm:spPr/>
    </dgm:pt>
    <dgm:pt modelId="{7E3A5B43-1594-4AEF-A8C9-9DDF3845EB77}" type="pres">
      <dgm:prSet presAssocID="{50CF7D8C-7ED1-4102-8347-F71CA316740F}" presName="rootText" presStyleLbl="node2" presStyleIdx="2" presStyleCnt="4" custScaleX="126830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814F93A-BA38-4945-8DB7-3A338E9C09C0}" type="pres">
      <dgm:prSet presAssocID="{50CF7D8C-7ED1-4102-8347-F71CA316740F}" presName="rootConnector" presStyleLbl="node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3824A08B-6BDF-4345-AF53-B824C1AADBA0}" type="pres">
      <dgm:prSet presAssocID="{50CF7D8C-7ED1-4102-8347-F71CA316740F}" presName="hierChild4" presStyleCnt="0"/>
      <dgm:spPr/>
    </dgm:pt>
    <dgm:pt modelId="{DFCF65C2-1D4E-4203-8483-263873D3B705}" type="pres">
      <dgm:prSet presAssocID="{B01CBABA-8942-409E-8096-D3A4E82429D2}" presName="Name37" presStyleLbl="parChTrans1D3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A5DC6E14-2DD8-4A4D-9B0E-11E200E26A73}" type="pres">
      <dgm:prSet presAssocID="{60CBB08E-EF13-4941-91EA-CE35D6A9BC7C}" presName="hierRoot2" presStyleCnt="0">
        <dgm:presLayoutVars>
          <dgm:hierBranch val="init"/>
        </dgm:presLayoutVars>
      </dgm:prSet>
      <dgm:spPr/>
    </dgm:pt>
    <dgm:pt modelId="{92B72518-CFA3-4035-9BF7-97ECA93F9B62}" type="pres">
      <dgm:prSet presAssocID="{60CBB08E-EF13-4941-91EA-CE35D6A9BC7C}" presName="rootComposite" presStyleCnt="0"/>
      <dgm:spPr/>
    </dgm:pt>
    <dgm:pt modelId="{65C0A499-92EB-45F2-949A-1B73F4D033F2}" type="pres">
      <dgm:prSet presAssocID="{60CBB08E-EF13-4941-91EA-CE35D6A9BC7C}" presName="rootText" presStyleLbl="node3" presStyleIdx="2" presStyleCnt="4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8E166B0-531E-43B7-8A97-C6036663D8E6}" type="pres">
      <dgm:prSet presAssocID="{60CBB08E-EF13-4941-91EA-CE35D6A9BC7C}" presName="rootConnector" presStyleLbl="node3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4B08A774-F3F2-47E7-B366-6D92574A5B17}" type="pres">
      <dgm:prSet presAssocID="{60CBB08E-EF13-4941-91EA-CE35D6A9BC7C}" presName="hierChild4" presStyleCnt="0"/>
      <dgm:spPr/>
    </dgm:pt>
    <dgm:pt modelId="{4BA0D1F8-7A76-45FB-9F8B-A143F3689240}" type="pres">
      <dgm:prSet presAssocID="{266BBE48-F423-4813-B0B4-D043CA72629D}" presName="Name37" presStyleLbl="parChTrans1D4" presStyleIdx="5" presStyleCnt="9"/>
      <dgm:spPr/>
      <dgm:t>
        <a:bodyPr/>
        <a:lstStyle/>
        <a:p>
          <a:pPr latinLnBrk="1"/>
          <a:endParaRPr lang="ko-KR" altLang="en-US"/>
        </a:p>
      </dgm:t>
    </dgm:pt>
    <dgm:pt modelId="{12AEE908-2F1F-4FE8-84C2-1496551E89D4}" type="pres">
      <dgm:prSet presAssocID="{2CF8B66D-8174-4BE4-B419-64DC77D94A8C}" presName="hierRoot2" presStyleCnt="0">
        <dgm:presLayoutVars>
          <dgm:hierBranch val="init"/>
        </dgm:presLayoutVars>
      </dgm:prSet>
      <dgm:spPr/>
    </dgm:pt>
    <dgm:pt modelId="{2AF134DD-D125-43F2-BD07-897080FFDF25}" type="pres">
      <dgm:prSet presAssocID="{2CF8B66D-8174-4BE4-B419-64DC77D94A8C}" presName="rootComposite" presStyleCnt="0"/>
      <dgm:spPr/>
    </dgm:pt>
    <dgm:pt modelId="{C991FD64-A9E4-4E4E-9AC8-B5BEFA41DAF1}" type="pres">
      <dgm:prSet presAssocID="{2CF8B66D-8174-4BE4-B419-64DC77D94A8C}" presName="rootText" presStyleLbl="node4" presStyleIdx="5" presStyleCnt="9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BAD4223-2F15-4A1F-8B72-E4CEE4217AF4}" type="pres">
      <dgm:prSet presAssocID="{2CF8B66D-8174-4BE4-B419-64DC77D94A8C}" presName="rootConnector" presStyleLbl="node4" presStyleIdx="5" presStyleCnt="9"/>
      <dgm:spPr/>
      <dgm:t>
        <a:bodyPr/>
        <a:lstStyle/>
        <a:p>
          <a:pPr latinLnBrk="1"/>
          <a:endParaRPr lang="ko-KR" altLang="en-US"/>
        </a:p>
      </dgm:t>
    </dgm:pt>
    <dgm:pt modelId="{C5A3C17C-C0D3-4D9C-B316-2F4236677811}" type="pres">
      <dgm:prSet presAssocID="{2CF8B66D-8174-4BE4-B419-64DC77D94A8C}" presName="hierChild4" presStyleCnt="0"/>
      <dgm:spPr/>
    </dgm:pt>
    <dgm:pt modelId="{C3F37AC0-70D0-4F54-A65E-747CB71F0DAB}" type="pres">
      <dgm:prSet presAssocID="{2CF8B66D-8174-4BE4-B419-64DC77D94A8C}" presName="hierChild5" presStyleCnt="0"/>
      <dgm:spPr/>
    </dgm:pt>
    <dgm:pt modelId="{B3300620-D487-4901-A86B-5783BDDC333F}" type="pres">
      <dgm:prSet presAssocID="{60CBB08E-EF13-4941-91EA-CE35D6A9BC7C}" presName="hierChild5" presStyleCnt="0"/>
      <dgm:spPr/>
    </dgm:pt>
    <dgm:pt modelId="{574C65FD-5127-4961-9183-6E86A88ECCD2}" type="pres">
      <dgm:prSet presAssocID="{50CF7D8C-7ED1-4102-8347-F71CA316740F}" presName="hierChild5" presStyleCnt="0"/>
      <dgm:spPr/>
    </dgm:pt>
    <dgm:pt modelId="{7A7136E1-CBCF-4CD9-86AB-8BC82BD8452F}" type="pres">
      <dgm:prSet presAssocID="{DB071331-65AC-4F4B-88A1-73AB9E168912}" presName="Name37" presStyleLbl="parChTrans1D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8606E31A-87FF-4F89-A1A8-D4BFAFE6E5CF}" type="pres">
      <dgm:prSet presAssocID="{27809B1E-ACB5-4EC5-8764-214E4EEC1B00}" presName="hierRoot2" presStyleCnt="0">
        <dgm:presLayoutVars>
          <dgm:hierBranch val="init"/>
        </dgm:presLayoutVars>
      </dgm:prSet>
      <dgm:spPr/>
    </dgm:pt>
    <dgm:pt modelId="{39A21E7D-5FD2-4C1B-AC1E-B463EE3413BD}" type="pres">
      <dgm:prSet presAssocID="{27809B1E-ACB5-4EC5-8764-214E4EEC1B00}" presName="rootComposite" presStyleCnt="0"/>
      <dgm:spPr/>
    </dgm:pt>
    <dgm:pt modelId="{F64A5C08-9C7D-4E71-AB14-8CF1F43E6643}" type="pres">
      <dgm:prSet presAssocID="{27809B1E-ACB5-4EC5-8764-214E4EEC1B00}" presName="rootText" presStyleLbl="node2" presStyleIdx="3" presStyleCnt="4" custScaleX="127012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6DBE938-79ED-4BB6-B601-50EF87574107}" type="pres">
      <dgm:prSet presAssocID="{27809B1E-ACB5-4EC5-8764-214E4EEC1B00}" presName="rootConnector" presStyleLbl="node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C7C486AB-F20B-4403-937C-53D534A14EF0}" type="pres">
      <dgm:prSet presAssocID="{27809B1E-ACB5-4EC5-8764-214E4EEC1B00}" presName="hierChild4" presStyleCnt="0"/>
      <dgm:spPr/>
    </dgm:pt>
    <dgm:pt modelId="{1DDDFFC9-E5A8-4087-9E95-1FB681DF4CC5}" type="pres">
      <dgm:prSet presAssocID="{F44C7AA9-9F5F-48E8-AEE9-3E681611FE7C}" presName="Name37" presStyleLbl="parChTrans1D3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74B48534-0830-4C78-8D0F-CEB92F1760D5}" type="pres">
      <dgm:prSet presAssocID="{2C31E7C3-114E-4286-84A2-A110F22834EB}" presName="hierRoot2" presStyleCnt="0">
        <dgm:presLayoutVars>
          <dgm:hierBranch val="init"/>
        </dgm:presLayoutVars>
      </dgm:prSet>
      <dgm:spPr/>
    </dgm:pt>
    <dgm:pt modelId="{A1717F5A-B3B3-4867-9B2B-B647838EE0A5}" type="pres">
      <dgm:prSet presAssocID="{2C31E7C3-114E-4286-84A2-A110F22834EB}" presName="rootComposite" presStyleCnt="0"/>
      <dgm:spPr/>
    </dgm:pt>
    <dgm:pt modelId="{5FD5C512-6516-47ED-9F8C-384FE16B7384}" type="pres">
      <dgm:prSet presAssocID="{2C31E7C3-114E-4286-84A2-A110F22834EB}" presName="rootText" presStyleLbl="node3" presStyleIdx="3" presStyleCnt="4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816DE43-F5B9-44F4-96FB-4400224641C9}" type="pres">
      <dgm:prSet presAssocID="{2C31E7C3-114E-4286-84A2-A110F22834EB}" presName="rootConnector" presStyleLbl="node3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9E1CC932-C84B-425A-9CA2-838019215862}" type="pres">
      <dgm:prSet presAssocID="{2C31E7C3-114E-4286-84A2-A110F22834EB}" presName="hierChild4" presStyleCnt="0"/>
      <dgm:spPr/>
    </dgm:pt>
    <dgm:pt modelId="{521233A8-D573-4B60-A683-EDF0D588D1B0}" type="pres">
      <dgm:prSet presAssocID="{0D74438D-83A6-4DFC-B066-5D2EF9276D91}" presName="Name37" presStyleLbl="parChTrans1D4" presStyleIdx="6" presStyleCnt="9"/>
      <dgm:spPr/>
      <dgm:t>
        <a:bodyPr/>
        <a:lstStyle/>
        <a:p>
          <a:pPr latinLnBrk="1"/>
          <a:endParaRPr lang="ko-KR" altLang="en-US"/>
        </a:p>
      </dgm:t>
    </dgm:pt>
    <dgm:pt modelId="{E0BD06EE-5594-42C7-BC30-731DAA94D2BA}" type="pres">
      <dgm:prSet presAssocID="{65DC873E-897D-433D-9120-E4E8252E3464}" presName="hierRoot2" presStyleCnt="0">
        <dgm:presLayoutVars>
          <dgm:hierBranch val="init"/>
        </dgm:presLayoutVars>
      </dgm:prSet>
      <dgm:spPr/>
    </dgm:pt>
    <dgm:pt modelId="{4ED81A1A-C4E5-4301-86B9-350A7D703552}" type="pres">
      <dgm:prSet presAssocID="{65DC873E-897D-433D-9120-E4E8252E3464}" presName="rootComposite" presStyleCnt="0"/>
      <dgm:spPr/>
    </dgm:pt>
    <dgm:pt modelId="{B9693ECF-379B-46F1-BAA8-9600C9A06547}" type="pres">
      <dgm:prSet presAssocID="{65DC873E-897D-433D-9120-E4E8252E3464}" presName="rootText" presStyleLbl="node4" presStyleIdx="6" presStyleCnt="9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24F4067-D8BB-48C6-9808-F81F05804206}" type="pres">
      <dgm:prSet presAssocID="{65DC873E-897D-433D-9120-E4E8252E3464}" presName="rootConnector" presStyleLbl="node4" presStyleIdx="6" presStyleCnt="9"/>
      <dgm:spPr/>
      <dgm:t>
        <a:bodyPr/>
        <a:lstStyle/>
        <a:p>
          <a:pPr latinLnBrk="1"/>
          <a:endParaRPr lang="ko-KR" altLang="en-US"/>
        </a:p>
      </dgm:t>
    </dgm:pt>
    <dgm:pt modelId="{5DDC753C-8B00-497E-8252-D334A8C0BC7C}" type="pres">
      <dgm:prSet presAssocID="{65DC873E-897D-433D-9120-E4E8252E3464}" presName="hierChild4" presStyleCnt="0"/>
      <dgm:spPr/>
    </dgm:pt>
    <dgm:pt modelId="{0A103333-E84A-4D61-BD15-939EA6D9D10B}" type="pres">
      <dgm:prSet presAssocID="{65DC873E-897D-433D-9120-E4E8252E3464}" presName="hierChild5" presStyleCnt="0"/>
      <dgm:spPr/>
    </dgm:pt>
    <dgm:pt modelId="{12EC1DF9-C0B9-4358-AD1C-271BC88AAD04}" type="pres">
      <dgm:prSet presAssocID="{9C7F346A-437B-4622-B2CB-A62EDC53B5B1}" presName="Name37" presStyleLbl="parChTrans1D4" presStyleIdx="7" presStyleCnt="9"/>
      <dgm:spPr/>
      <dgm:t>
        <a:bodyPr/>
        <a:lstStyle/>
        <a:p>
          <a:pPr latinLnBrk="1"/>
          <a:endParaRPr lang="ko-KR" altLang="en-US"/>
        </a:p>
      </dgm:t>
    </dgm:pt>
    <dgm:pt modelId="{E5BE6DC1-0A8F-4F72-9252-2DA87A175637}" type="pres">
      <dgm:prSet presAssocID="{39184ACB-53D6-445A-AD12-8D8BCB1587C1}" presName="hierRoot2" presStyleCnt="0">
        <dgm:presLayoutVars>
          <dgm:hierBranch val="init"/>
        </dgm:presLayoutVars>
      </dgm:prSet>
      <dgm:spPr/>
    </dgm:pt>
    <dgm:pt modelId="{43AF2A9B-D83F-4F77-8174-14C30D694409}" type="pres">
      <dgm:prSet presAssocID="{39184ACB-53D6-445A-AD12-8D8BCB1587C1}" presName="rootComposite" presStyleCnt="0"/>
      <dgm:spPr/>
    </dgm:pt>
    <dgm:pt modelId="{45125ABD-33BD-40C4-AB3D-5B2FB9BE1271}" type="pres">
      <dgm:prSet presAssocID="{39184ACB-53D6-445A-AD12-8D8BCB1587C1}" presName="rootText" presStyleLbl="node4" presStyleIdx="7" presStyleCnt="9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CBC27F5-F150-43A1-9627-E35936BED7C3}" type="pres">
      <dgm:prSet presAssocID="{39184ACB-53D6-445A-AD12-8D8BCB1587C1}" presName="rootConnector" presStyleLbl="node4" presStyleIdx="7" presStyleCnt="9"/>
      <dgm:spPr/>
      <dgm:t>
        <a:bodyPr/>
        <a:lstStyle/>
        <a:p>
          <a:pPr latinLnBrk="1"/>
          <a:endParaRPr lang="ko-KR" altLang="en-US"/>
        </a:p>
      </dgm:t>
    </dgm:pt>
    <dgm:pt modelId="{0E7C9538-6B6D-483D-9F1F-8CCDFBDE41D4}" type="pres">
      <dgm:prSet presAssocID="{39184ACB-53D6-445A-AD12-8D8BCB1587C1}" presName="hierChild4" presStyleCnt="0"/>
      <dgm:spPr/>
    </dgm:pt>
    <dgm:pt modelId="{E5D9E7E1-66B4-4EB8-9FF5-7C30CA669C72}" type="pres">
      <dgm:prSet presAssocID="{39184ACB-53D6-445A-AD12-8D8BCB1587C1}" presName="hierChild5" presStyleCnt="0"/>
      <dgm:spPr/>
    </dgm:pt>
    <dgm:pt modelId="{13BFD89B-F024-46EC-82CB-922FA2F1BE4E}" type="pres">
      <dgm:prSet presAssocID="{CDF14963-0031-4A51-A5C3-5FFAF5A82E9F}" presName="Name37" presStyleLbl="parChTrans1D4" presStyleIdx="8" presStyleCnt="9"/>
      <dgm:spPr/>
      <dgm:t>
        <a:bodyPr/>
        <a:lstStyle/>
        <a:p>
          <a:pPr latinLnBrk="1"/>
          <a:endParaRPr lang="ko-KR" altLang="en-US"/>
        </a:p>
      </dgm:t>
    </dgm:pt>
    <dgm:pt modelId="{B1AF9ECA-69F6-4BAC-89F7-85280CE6785C}" type="pres">
      <dgm:prSet presAssocID="{E35C69FE-8821-4D81-88AA-42C379C36929}" presName="hierRoot2" presStyleCnt="0">
        <dgm:presLayoutVars>
          <dgm:hierBranch val="init"/>
        </dgm:presLayoutVars>
      </dgm:prSet>
      <dgm:spPr/>
    </dgm:pt>
    <dgm:pt modelId="{F8F118DC-5D29-4B48-B127-2D2520A38F69}" type="pres">
      <dgm:prSet presAssocID="{E35C69FE-8821-4D81-88AA-42C379C36929}" presName="rootComposite" presStyleCnt="0"/>
      <dgm:spPr/>
    </dgm:pt>
    <dgm:pt modelId="{27581EA2-D022-49F0-8DFE-F2E741585E66}" type="pres">
      <dgm:prSet presAssocID="{E35C69FE-8821-4D81-88AA-42C379C36929}" presName="rootText" presStyleLbl="node4" presStyleIdx="8" presStyleCnt="9" custScaleX="103829" custScaleY="6376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DFF8F46-91E3-41A5-AE46-734B03F58C00}" type="pres">
      <dgm:prSet presAssocID="{E35C69FE-8821-4D81-88AA-42C379C36929}" presName="rootConnector" presStyleLbl="node4" presStyleIdx="8" presStyleCnt="9"/>
      <dgm:spPr/>
      <dgm:t>
        <a:bodyPr/>
        <a:lstStyle/>
        <a:p>
          <a:pPr latinLnBrk="1"/>
          <a:endParaRPr lang="ko-KR" altLang="en-US"/>
        </a:p>
      </dgm:t>
    </dgm:pt>
    <dgm:pt modelId="{66355B54-B227-4E62-891B-13B39B3781DA}" type="pres">
      <dgm:prSet presAssocID="{E35C69FE-8821-4D81-88AA-42C379C36929}" presName="hierChild4" presStyleCnt="0"/>
      <dgm:spPr/>
    </dgm:pt>
    <dgm:pt modelId="{0FCCB5A1-490D-45CB-8170-FC1AFCB66555}" type="pres">
      <dgm:prSet presAssocID="{E35C69FE-8821-4D81-88AA-42C379C36929}" presName="hierChild5" presStyleCnt="0"/>
      <dgm:spPr/>
    </dgm:pt>
    <dgm:pt modelId="{018ED94A-44C2-4EE1-A693-1CE607805FA0}" type="pres">
      <dgm:prSet presAssocID="{2C31E7C3-114E-4286-84A2-A110F22834EB}" presName="hierChild5" presStyleCnt="0"/>
      <dgm:spPr/>
    </dgm:pt>
    <dgm:pt modelId="{CF1DE82E-D3F6-45EB-9840-D791AA4DE707}" type="pres">
      <dgm:prSet presAssocID="{27809B1E-ACB5-4EC5-8764-214E4EEC1B00}" presName="hierChild5" presStyleCnt="0"/>
      <dgm:spPr/>
    </dgm:pt>
    <dgm:pt modelId="{37666F81-7E92-4D67-932F-6A797ACDBA5C}" type="pres">
      <dgm:prSet presAssocID="{29B11A98-9D33-4B61-A1C4-0BD1F530C062}" presName="hierChild3" presStyleCnt="0"/>
      <dgm:spPr/>
    </dgm:pt>
  </dgm:ptLst>
  <dgm:cxnLst>
    <dgm:cxn modelId="{5EAAADCA-6EBC-4676-B8FF-E0AF978A268C}" type="presOf" srcId="{65DC873E-897D-433D-9120-E4E8252E3464}" destId="{424F4067-D8BB-48C6-9808-F81F05804206}" srcOrd="1" destOrd="0" presId="urn:microsoft.com/office/officeart/2005/8/layout/orgChart1"/>
    <dgm:cxn modelId="{2097B25A-6D22-43CD-8685-D37C4BA456F4}" type="presOf" srcId="{D17AFCDF-A84F-42C7-9568-98E7765CC252}" destId="{BAAD8B09-C8BE-4781-80CB-CD68113FA53E}" srcOrd="1" destOrd="0" presId="urn:microsoft.com/office/officeart/2005/8/layout/orgChart1"/>
    <dgm:cxn modelId="{94D669C2-87A3-445A-B2B3-23942F17D0D0}" type="presOf" srcId="{60CBB08E-EF13-4941-91EA-CE35D6A9BC7C}" destId="{65C0A499-92EB-45F2-949A-1B73F4D033F2}" srcOrd="0" destOrd="0" presId="urn:microsoft.com/office/officeart/2005/8/layout/orgChart1"/>
    <dgm:cxn modelId="{E80BDD33-13D8-473A-95D0-399B314A1D0C}" type="presOf" srcId="{29B11A98-9D33-4B61-A1C4-0BD1F530C062}" destId="{5197FF8D-FC58-4291-A413-97D4B3FFC8DA}" srcOrd="0" destOrd="0" presId="urn:microsoft.com/office/officeart/2005/8/layout/orgChart1"/>
    <dgm:cxn modelId="{3DB386AB-48FF-4BBF-A451-DDD838D25B89}" type="presOf" srcId="{16CFFC99-9FC8-48B6-901B-664BBBB409D2}" destId="{25490263-AA39-456D-B8BE-13FAC661C19E}" srcOrd="0" destOrd="0" presId="urn:microsoft.com/office/officeart/2005/8/layout/orgChart1"/>
    <dgm:cxn modelId="{9D5AE145-9354-4614-8F76-6E49BE9E638A}" type="presOf" srcId="{2CF8B66D-8174-4BE4-B419-64DC77D94A8C}" destId="{C991FD64-A9E4-4E4E-9AC8-B5BEFA41DAF1}" srcOrd="0" destOrd="0" presId="urn:microsoft.com/office/officeart/2005/8/layout/orgChart1"/>
    <dgm:cxn modelId="{67F9D403-A31E-4F32-8236-16823029251F}" type="presOf" srcId="{FE4C2277-3322-4A9A-A65D-A29A82815C0B}" destId="{698508D6-C93E-4E49-A7B9-B4DA6FBDF86C}" srcOrd="0" destOrd="0" presId="urn:microsoft.com/office/officeart/2005/8/layout/orgChart1"/>
    <dgm:cxn modelId="{A9CBD8E3-3A35-44A1-BE90-7BCD65ABEEF8}" type="presOf" srcId="{39184ACB-53D6-445A-AD12-8D8BCB1587C1}" destId="{45125ABD-33BD-40C4-AB3D-5B2FB9BE1271}" srcOrd="0" destOrd="0" presId="urn:microsoft.com/office/officeart/2005/8/layout/orgChart1"/>
    <dgm:cxn modelId="{0EA41B11-F093-412C-8BA9-E57CC1319993}" type="presOf" srcId="{2C31E7C3-114E-4286-84A2-A110F22834EB}" destId="{5FD5C512-6516-47ED-9F8C-384FE16B7384}" srcOrd="0" destOrd="0" presId="urn:microsoft.com/office/officeart/2005/8/layout/orgChart1"/>
    <dgm:cxn modelId="{0CC164DB-CFBE-492E-8603-60C20E6D9455}" srcId="{29B11A98-9D33-4B61-A1C4-0BD1F530C062}" destId="{D17AFCDF-A84F-42C7-9568-98E7765CC252}" srcOrd="0" destOrd="0" parTransId="{85C7D48A-DFF2-4084-80F0-1CF3758EFDF3}" sibTransId="{1551EB1F-4DBE-45B7-AC97-98C798222F40}"/>
    <dgm:cxn modelId="{11C107DB-2C5B-490B-9FAC-970FD6F43FAD}" type="presOf" srcId="{D9100671-4CB5-4820-B7B4-4B271219FE40}" destId="{366FD547-57D6-420F-8969-85C85847F670}" srcOrd="0" destOrd="0" presId="urn:microsoft.com/office/officeart/2005/8/layout/orgChart1"/>
    <dgm:cxn modelId="{37BDCBA4-2F04-4DA5-8BF0-E3076D2F1E56}" type="presOf" srcId="{50CF7D8C-7ED1-4102-8347-F71CA316740F}" destId="{A814F93A-BA38-4945-8DB7-3A338E9C09C0}" srcOrd="1" destOrd="0" presId="urn:microsoft.com/office/officeart/2005/8/layout/orgChart1"/>
    <dgm:cxn modelId="{DD691126-6990-4B92-ACD1-0CC7B2D7028A}" srcId="{2C31E7C3-114E-4286-84A2-A110F22834EB}" destId="{39184ACB-53D6-445A-AD12-8D8BCB1587C1}" srcOrd="1" destOrd="0" parTransId="{9C7F346A-437B-4622-B2CB-A62EDC53B5B1}" sibTransId="{64F6FEC0-E786-497E-BD1C-385894A5C863}"/>
    <dgm:cxn modelId="{33135F75-471F-49BD-BD91-742EF8070932}" type="presOf" srcId="{905BB1F3-EB85-4C67-9B4B-D8FCD959CE3F}" destId="{2D029B3C-3925-4BAB-B7CE-DDBF143FAE99}" srcOrd="0" destOrd="0" presId="urn:microsoft.com/office/officeart/2005/8/layout/orgChart1"/>
    <dgm:cxn modelId="{5554ECEB-5513-4B23-87A6-C9DF9711686A}" srcId="{40FF39DC-82F8-41CA-B7B9-CC56D9A5B34B}" destId="{0D3039E0-1F69-4B7D-8F76-2E7447C24984}" srcOrd="0" destOrd="0" parTransId="{3CC58F7F-98F9-4AED-BB13-A65BDD0646EB}" sibTransId="{6D7888A5-B01E-43C6-AB9D-1957986F30DA}"/>
    <dgm:cxn modelId="{11B0C6AC-D7AA-4244-893B-8347C3524A1D}" type="presOf" srcId="{266BBE48-F423-4813-B0B4-D043CA72629D}" destId="{4BA0D1F8-7A76-45FB-9F8B-A143F3689240}" srcOrd="0" destOrd="0" presId="urn:microsoft.com/office/officeart/2005/8/layout/orgChart1"/>
    <dgm:cxn modelId="{D34738D7-3CC4-468F-9C26-6FB346A6A4AD}" type="presOf" srcId="{60CBB08E-EF13-4941-91EA-CE35D6A9BC7C}" destId="{98E166B0-531E-43B7-8A97-C6036663D8E6}" srcOrd="1" destOrd="0" presId="urn:microsoft.com/office/officeart/2005/8/layout/orgChart1"/>
    <dgm:cxn modelId="{5FF6293E-36FB-4BB3-9D02-9A9D12DFDD95}" type="presOf" srcId="{50CF7D8C-7ED1-4102-8347-F71CA316740F}" destId="{7E3A5B43-1594-4AEF-A8C9-9DDF3845EB77}" srcOrd="0" destOrd="0" presId="urn:microsoft.com/office/officeart/2005/8/layout/orgChart1"/>
    <dgm:cxn modelId="{45562B44-31F1-45E7-B39C-72249ACE83F5}" type="presOf" srcId="{01D388E7-1A65-41B1-B0F3-C1E8B9DFB691}" destId="{23F6EC11-8BB0-4EB2-9B75-2CB751E9AFFE}" srcOrd="1" destOrd="0" presId="urn:microsoft.com/office/officeart/2005/8/layout/orgChart1"/>
    <dgm:cxn modelId="{412CDBDA-3ADC-409D-BFE6-82B03096B257}" type="presOf" srcId="{73386C65-C094-48CF-87A9-FF1C7BA19C92}" destId="{26805636-D31E-43BA-8879-D61E1A01CD81}" srcOrd="1" destOrd="0" presId="urn:microsoft.com/office/officeart/2005/8/layout/orgChart1"/>
    <dgm:cxn modelId="{F31C63A5-3640-4448-9034-77D33AF08916}" type="presOf" srcId="{73386C65-C094-48CF-87A9-FF1C7BA19C92}" destId="{0CEF3506-6E37-4655-993C-7C8FD251AC4E}" srcOrd="0" destOrd="0" presId="urn:microsoft.com/office/officeart/2005/8/layout/orgChart1"/>
    <dgm:cxn modelId="{6E3C7434-3BA8-4412-9E96-CB406ECDF7DA}" type="presOf" srcId="{29B11A98-9D33-4B61-A1C4-0BD1F530C062}" destId="{970D5FEC-0549-4E44-BEF7-3C055DD5E0EB}" srcOrd="1" destOrd="0" presId="urn:microsoft.com/office/officeart/2005/8/layout/orgChart1"/>
    <dgm:cxn modelId="{D897E0A2-D0F3-4CC0-A42A-11C500FC71B3}" type="presOf" srcId="{27809B1E-ACB5-4EC5-8764-214E4EEC1B00}" destId="{F64A5C08-9C7D-4E71-AB14-8CF1F43E6643}" srcOrd="0" destOrd="0" presId="urn:microsoft.com/office/officeart/2005/8/layout/orgChart1"/>
    <dgm:cxn modelId="{C5088720-1B64-4BDE-AB0B-ABD4AFB1171C}" type="presOf" srcId="{29DD73ED-3BDB-4C52-853A-36FC0EA20AF7}" destId="{6DF3FE2B-F1DA-4413-8913-2B9E5EE9BE1A}" srcOrd="0" destOrd="0" presId="urn:microsoft.com/office/officeart/2005/8/layout/orgChart1"/>
    <dgm:cxn modelId="{3F47BEB0-F541-4967-A31E-B1D002F38098}" type="presOf" srcId="{27809B1E-ACB5-4EC5-8764-214E4EEC1B00}" destId="{F6DBE938-79ED-4BB6-B601-50EF87574107}" srcOrd="1" destOrd="0" presId="urn:microsoft.com/office/officeart/2005/8/layout/orgChart1"/>
    <dgm:cxn modelId="{DEBB6617-B541-47A6-9D5A-0AD80DE5A64C}" type="presOf" srcId="{3CC58F7F-98F9-4AED-BB13-A65BDD0646EB}" destId="{7A2DCF16-4793-4F62-8615-1A86A0383840}" srcOrd="0" destOrd="0" presId="urn:microsoft.com/office/officeart/2005/8/layout/orgChart1"/>
    <dgm:cxn modelId="{55A84831-9E56-4661-B329-4DD41E505B4B}" type="presOf" srcId="{D0E7357C-0F89-42A3-ACC2-97DE8F12497B}" destId="{06706562-2085-4C5D-9F32-D879389E4EC6}" srcOrd="0" destOrd="0" presId="urn:microsoft.com/office/officeart/2005/8/layout/orgChart1"/>
    <dgm:cxn modelId="{1577FBAE-D75C-44DD-8142-516B95D8BB65}" type="presOf" srcId="{A508D72F-BE81-403F-8B18-3E4E4D4A58FB}" destId="{DBB318E6-0EF9-497A-8A98-B81193AEB0FD}" srcOrd="0" destOrd="0" presId="urn:microsoft.com/office/officeart/2005/8/layout/orgChart1"/>
    <dgm:cxn modelId="{1DE6F2BC-D70B-416F-90F7-823766003BFA}" srcId="{29B11A98-9D33-4B61-A1C4-0BD1F530C062}" destId="{50CF7D8C-7ED1-4102-8347-F71CA316740F}" srcOrd="2" destOrd="0" parTransId="{1161B3C3-4CC8-4D03-9228-213AB69E18C5}" sibTransId="{183EBCF5-23D5-4929-8430-8C3D8B7BD2FC}"/>
    <dgm:cxn modelId="{5669BD61-E99A-4A67-8563-ECD6D09060F7}" type="presOf" srcId="{CDF14963-0031-4A51-A5C3-5FFAF5A82E9F}" destId="{13BFD89B-F024-46EC-82CB-922FA2F1BE4E}" srcOrd="0" destOrd="0" presId="urn:microsoft.com/office/officeart/2005/8/layout/orgChart1"/>
    <dgm:cxn modelId="{80B7E52E-0F16-4EC7-A7ED-6F0F7B0B7AA7}" type="presOf" srcId="{E35C69FE-8821-4D81-88AA-42C379C36929}" destId="{1DFF8F46-91E3-41A5-AE46-734B03F58C00}" srcOrd="1" destOrd="0" presId="urn:microsoft.com/office/officeart/2005/8/layout/orgChart1"/>
    <dgm:cxn modelId="{09A9F1D4-B3AB-4034-8CE2-E8CCC6BACD45}" type="presOf" srcId="{39184ACB-53D6-445A-AD12-8D8BCB1587C1}" destId="{DCBC27F5-F150-43A1-9627-E35936BED7C3}" srcOrd="1" destOrd="0" presId="urn:microsoft.com/office/officeart/2005/8/layout/orgChart1"/>
    <dgm:cxn modelId="{B13E8F54-52FF-44C9-A591-F6889F12F638}" type="presOf" srcId="{D0E7357C-0F89-42A3-ACC2-97DE8F12497B}" destId="{F8054045-13C6-4793-90B2-93AE757394FE}" srcOrd="1" destOrd="0" presId="urn:microsoft.com/office/officeart/2005/8/layout/orgChart1"/>
    <dgm:cxn modelId="{767F81E6-C29D-400A-8CC7-A8499A477AB2}" type="presOf" srcId="{D9100671-4CB5-4820-B7B4-4B271219FE40}" destId="{EB94A250-EE4C-4630-9677-2500B1056E16}" srcOrd="1" destOrd="0" presId="urn:microsoft.com/office/officeart/2005/8/layout/orgChart1"/>
    <dgm:cxn modelId="{9540FF4E-76A1-4F79-92BD-F2E3ECD43926}" type="presOf" srcId="{0D74438D-83A6-4DFC-B066-5D2EF9276D91}" destId="{521233A8-D573-4B60-A683-EDF0D588D1B0}" srcOrd="0" destOrd="0" presId="urn:microsoft.com/office/officeart/2005/8/layout/orgChart1"/>
    <dgm:cxn modelId="{C30B8373-8B2B-43CD-BF87-8735C795A0C2}" type="presOf" srcId="{B01CBABA-8942-409E-8096-D3A4E82429D2}" destId="{DFCF65C2-1D4E-4203-8483-263873D3B705}" srcOrd="0" destOrd="0" presId="urn:microsoft.com/office/officeart/2005/8/layout/orgChart1"/>
    <dgm:cxn modelId="{A1CAAA2E-ED4F-4275-BA7F-B2AEC8E3C0B3}" type="presOf" srcId="{40FF39DC-82F8-41CA-B7B9-CC56D9A5B34B}" destId="{A135482C-7C3E-4A3A-AB63-C361DE474E45}" srcOrd="1" destOrd="0" presId="urn:microsoft.com/office/officeart/2005/8/layout/orgChart1"/>
    <dgm:cxn modelId="{E02974B7-F20F-496B-B16E-B4CF371F41CC}" type="presOf" srcId="{26FD6AAE-BB93-465D-A3ED-F3202652F5DE}" destId="{32A11FE5-1E99-4AA1-95A6-D2087475E7BF}" srcOrd="0" destOrd="0" presId="urn:microsoft.com/office/officeart/2005/8/layout/orgChart1"/>
    <dgm:cxn modelId="{06D61C3A-4829-407D-8EC8-596E22A13CEE}" type="presOf" srcId="{AF3E9BD3-BBF8-47F9-9C1B-0349D236F3D7}" destId="{398E9BCF-C768-462A-9BB8-E58EF94C9791}" srcOrd="0" destOrd="0" presId="urn:microsoft.com/office/officeart/2005/8/layout/orgChart1"/>
    <dgm:cxn modelId="{A8C71D96-C6E7-413D-BD33-5B9CA0DEA40F}" type="presOf" srcId="{F93C97F4-BFB9-4CC0-9E4E-8D85C7FC5B0C}" destId="{E3F6FB8C-F2C7-4BA2-AA1B-64E02C01B378}" srcOrd="0" destOrd="0" presId="urn:microsoft.com/office/officeart/2005/8/layout/orgChart1"/>
    <dgm:cxn modelId="{E0A014D0-84C4-4158-BA98-E14FC7CBC25B}" srcId="{60CBB08E-EF13-4941-91EA-CE35D6A9BC7C}" destId="{2CF8B66D-8174-4BE4-B419-64DC77D94A8C}" srcOrd="0" destOrd="0" parTransId="{266BBE48-F423-4813-B0B4-D043CA72629D}" sibTransId="{430A65F5-7990-42BD-9FA4-31BBB54D3288}"/>
    <dgm:cxn modelId="{2DDDE7FB-8642-443A-8FCC-8E852824C141}" srcId="{29B11A98-9D33-4B61-A1C4-0BD1F530C062}" destId="{27809B1E-ACB5-4EC5-8764-214E4EEC1B00}" srcOrd="3" destOrd="0" parTransId="{DB071331-65AC-4F4B-88A1-73AB9E168912}" sibTransId="{E13D3EDC-40B0-463F-B6CC-18DD77830A21}"/>
    <dgm:cxn modelId="{532B0885-89D5-482C-983B-E3F8850342DB}" srcId="{0D3039E0-1F69-4B7D-8F76-2E7447C24984}" destId="{73386C65-C094-48CF-87A9-FF1C7BA19C92}" srcOrd="0" destOrd="0" parTransId="{A7841DCF-985E-4315-8A88-049275F106D7}" sibTransId="{3EE5A89D-8A2A-4A31-A93C-171303DBEB8D}"/>
    <dgm:cxn modelId="{BFE78E32-72E7-4DBA-83AB-5F23BB629A8D}" type="presOf" srcId="{DB071331-65AC-4F4B-88A1-73AB9E168912}" destId="{7A7136E1-CBCF-4CD9-86AB-8BC82BD8452F}" srcOrd="0" destOrd="0" presId="urn:microsoft.com/office/officeart/2005/8/layout/orgChart1"/>
    <dgm:cxn modelId="{5E3804EF-67B2-497D-A58A-2C398015D9D3}" srcId="{8F47B722-8C74-4E42-959D-B200DD9A0423}" destId="{01D388E7-1A65-41B1-B0F3-C1E8B9DFB691}" srcOrd="0" destOrd="0" parTransId="{29DD73ED-3BDB-4C52-853A-36FC0EA20AF7}" sibTransId="{81ADB565-FA05-4214-A206-8AD5296249CC}"/>
    <dgm:cxn modelId="{39801674-90FC-42AB-96E2-29EA19E669DC}" srcId="{D17AFCDF-A84F-42C7-9568-98E7765CC252}" destId="{D0E7357C-0F89-42A3-ACC2-97DE8F12497B}" srcOrd="0" destOrd="0" parTransId="{26FD6AAE-BB93-465D-A3ED-F3202652F5DE}" sibTransId="{CB72FC68-595B-4EA7-BFE7-B5DF638B56D7}"/>
    <dgm:cxn modelId="{FD714875-EACF-4B49-9E52-008226BEE07B}" type="presOf" srcId="{A508D72F-BE81-403F-8B18-3E4E4D4A58FB}" destId="{3A6590FC-A54C-4CD1-9E38-DB6377E0B842}" srcOrd="1" destOrd="0" presId="urn:microsoft.com/office/officeart/2005/8/layout/orgChart1"/>
    <dgm:cxn modelId="{A0195AB5-56ED-47D5-9F4E-E1D319A43AA7}" type="presOf" srcId="{A7841DCF-985E-4315-8A88-049275F106D7}" destId="{00C1FD16-2F46-47BB-BF0F-C1D434EB35EE}" srcOrd="0" destOrd="0" presId="urn:microsoft.com/office/officeart/2005/8/layout/orgChart1"/>
    <dgm:cxn modelId="{A8FFEF56-FC3D-43A1-898C-49740FBAC26D}" type="presOf" srcId="{9C7F346A-437B-4622-B2CB-A62EDC53B5B1}" destId="{12EC1DF9-C0B9-4358-AD1C-271BC88AAD04}" srcOrd="0" destOrd="0" presId="urn:microsoft.com/office/officeart/2005/8/layout/orgChart1"/>
    <dgm:cxn modelId="{2D47FD8C-6379-4E8F-AFF8-1481E2684F09}" srcId="{D0E7357C-0F89-42A3-ACC2-97DE8F12497B}" destId="{D9100671-4CB5-4820-B7B4-4B271219FE40}" srcOrd="0" destOrd="0" parTransId="{FE4C2277-3322-4A9A-A65D-A29A82815C0B}" sibTransId="{F23F7E79-4337-4D3C-B7A7-04418D03F494}"/>
    <dgm:cxn modelId="{F513BAE0-F2DC-4485-8A25-7DFCDE23D6CC}" type="presOf" srcId="{85C7D48A-DFF2-4084-80F0-1CF3758EFDF3}" destId="{7BC8F406-0DC9-45A7-B698-8C9D764F5402}" srcOrd="0" destOrd="0" presId="urn:microsoft.com/office/officeart/2005/8/layout/orgChart1"/>
    <dgm:cxn modelId="{5CA8A15D-E720-4C5E-BF99-0204D519C048}" type="presOf" srcId="{1161B3C3-4CC8-4D03-9228-213AB69E18C5}" destId="{E68009D5-0F24-495C-B17E-71B0D4EE1A02}" srcOrd="0" destOrd="0" presId="urn:microsoft.com/office/officeart/2005/8/layout/orgChart1"/>
    <dgm:cxn modelId="{7A8A90C3-D2CB-4224-815B-3317CE5391EF}" type="presOf" srcId="{40FF39DC-82F8-41CA-B7B9-CC56D9A5B34B}" destId="{09CA3129-8B94-4B14-958F-A7CA4D18A9B9}" srcOrd="0" destOrd="0" presId="urn:microsoft.com/office/officeart/2005/8/layout/orgChart1"/>
    <dgm:cxn modelId="{43B24F7A-E360-4142-93D1-E4FD4CEAB1C5}" type="presOf" srcId="{8F47B722-8C74-4E42-959D-B200DD9A0423}" destId="{FF0CBA67-A219-4313-B4DC-C4682C06DE52}" srcOrd="1" destOrd="0" presId="urn:microsoft.com/office/officeart/2005/8/layout/orgChart1"/>
    <dgm:cxn modelId="{14607819-A3F6-4DC9-A49B-3F8891ADE016}" type="presOf" srcId="{F44C7AA9-9F5F-48E8-AEE9-3E681611FE7C}" destId="{1DDDFFC9-E5A8-4087-9E95-1FB681DF4CC5}" srcOrd="0" destOrd="0" presId="urn:microsoft.com/office/officeart/2005/8/layout/orgChart1"/>
    <dgm:cxn modelId="{5C668A27-0896-43EC-9B7C-56D91B3B41F1}" srcId="{AF3E9BD3-BBF8-47F9-9C1B-0349D236F3D7}" destId="{29B11A98-9D33-4B61-A1C4-0BD1F530C062}" srcOrd="0" destOrd="0" parTransId="{20619E98-0026-4190-8EED-D055608813CA}" sibTransId="{E8B20800-3E57-47DA-A3C1-8C60357C4E1C}"/>
    <dgm:cxn modelId="{3464B9FA-FA54-4B66-959A-7509EEA24490}" srcId="{27809B1E-ACB5-4EC5-8764-214E4EEC1B00}" destId="{2C31E7C3-114E-4286-84A2-A110F22834EB}" srcOrd="0" destOrd="0" parTransId="{F44C7AA9-9F5F-48E8-AEE9-3E681611FE7C}" sibTransId="{8C356CC7-8B81-417D-A9D2-F9B28D77A969}"/>
    <dgm:cxn modelId="{12E97946-FE52-4278-84E3-5EA2D913741D}" type="presOf" srcId="{8F47B722-8C74-4E42-959D-B200DD9A0423}" destId="{8A7301E4-6839-4A0B-BBD5-6C11DD40797D}" srcOrd="0" destOrd="0" presId="urn:microsoft.com/office/officeart/2005/8/layout/orgChart1"/>
    <dgm:cxn modelId="{B2BA69B5-973A-4E02-B4C3-96F45CC0E7E7}" type="presOf" srcId="{65DC873E-897D-433D-9120-E4E8252E3464}" destId="{B9693ECF-379B-46F1-BAA8-9600C9A06547}" srcOrd="0" destOrd="0" presId="urn:microsoft.com/office/officeart/2005/8/layout/orgChart1"/>
    <dgm:cxn modelId="{04B64535-A654-4CEA-BDF9-08A6DDDF3118}" type="presOf" srcId="{2C31E7C3-114E-4286-84A2-A110F22834EB}" destId="{B816DE43-F5B9-44F4-96FB-4400224641C9}" srcOrd="1" destOrd="0" presId="urn:microsoft.com/office/officeart/2005/8/layout/orgChart1"/>
    <dgm:cxn modelId="{1EE7F94F-E705-4D3D-B673-151DC2FF4E59}" type="presOf" srcId="{D17AFCDF-A84F-42C7-9568-98E7765CC252}" destId="{5AEC8923-A78B-4727-9ED7-DE90C1D72093}" srcOrd="0" destOrd="0" presId="urn:microsoft.com/office/officeart/2005/8/layout/orgChart1"/>
    <dgm:cxn modelId="{DA5C012F-038F-4CA0-8FB8-C740E7C9DA0F}" srcId="{2C31E7C3-114E-4286-84A2-A110F22834EB}" destId="{E35C69FE-8821-4D81-88AA-42C379C36929}" srcOrd="2" destOrd="0" parTransId="{CDF14963-0031-4A51-A5C3-5FFAF5A82E9F}" sibTransId="{6B53EF74-0FEA-4CCA-8688-8CC2824417A4}"/>
    <dgm:cxn modelId="{5FD34BC8-530C-465A-9EA0-DFA18158B12B}" type="presOf" srcId="{2CF8B66D-8174-4BE4-B419-64DC77D94A8C}" destId="{FBAD4223-2F15-4A1F-8B72-E4CEE4217AF4}" srcOrd="1" destOrd="0" presId="urn:microsoft.com/office/officeart/2005/8/layout/orgChart1"/>
    <dgm:cxn modelId="{6D87870A-BA3D-4B96-B32E-7B15A374F297}" type="presOf" srcId="{01D388E7-1A65-41B1-B0F3-C1E8B9DFB691}" destId="{14C0F6B3-7708-4CAD-B8EC-E9A689648763}" srcOrd="0" destOrd="0" presId="urn:microsoft.com/office/officeart/2005/8/layout/orgChart1"/>
    <dgm:cxn modelId="{76D73CF5-652D-4DCF-96C2-18D04FC53887}" type="presOf" srcId="{0D3039E0-1F69-4B7D-8F76-2E7447C24984}" destId="{1B6B3A2C-2B86-46D8-8C2F-D122B2AA83BF}" srcOrd="0" destOrd="0" presId="urn:microsoft.com/office/officeart/2005/8/layout/orgChart1"/>
    <dgm:cxn modelId="{A3EEB189-9D7A-4A00-92C1-08F3A01D6DE9}" srcId="{D9100671-4CB5-4820-B7B4-4B271219FE40}" destId="{A508D72F-BE81-403F-8B18-3E4E4D4A58FB}" srcOrd="0" destOrd="0" parTransId="{905BB1F3-EB85-4C67-9B4B-D8FCD959CE3F}" sibTransId="{AD63F243-4A0E-4266-8204-A29A4E3581F4}"/>
    <dgm:cxn modelId="{A009B698-9B16-41F8-9BE8-D3CC7E4534CA}" srcId="{50CF7D8C-7ED1-4102-8347-F71CA316740F}" destId="{60CBB08E-EF13-4941-91EA-CE35D6A9BC7C}" srcOrd="0" destOrd="0" parTransId="{B01CBABA-8942-409E-8096-D3A4E82429D2}" sibTransId="{87171398-A037-4F85-B3C0-77F965A19C2A}"/>
    <dgm:cxn modelId="{48F16EB4-DADF-4EEC-9088-BA9CB3229E92}" srcId="{2C31E7C3-114E-4286-84A2-A110F22834EB}" destId="{65DC873E-897D-433D-9120-E4E8252E3464}" srcOrd="0" destOrd="0" parTransId="{0D74438D-83A6-4DFC-B066-5D2EF9276D91}" sibTransId="{8CFBC1B8-A400-4DE1-87B4-C8F41478FFA2}"/>
    <dgm:cxn modelId="{AD6C45D8-7523-4C66-8C36-BB74DBC5C37C}" type="presOf" srcId="{E35C69FE-8821-4D81-88AA-42C379C36929}" destId="{27581EA2-D022-49F0-8DFE-F2E741585E66}" srcOrd="0" destOrd="0" presId="urn:microsoft.com/office/officeart/2005/8/layout/orgChart1"/>
    <dgm:cxn modelId="{4F907C52-3D01-4A0D-8C07-1B6296CB93F0}" type="presOf" srcId="{0D3039E0-1F69-4B7D-8F76-2E7447C24984}" destId="{03DFBC13-575B-44C5-9411-8C49A89188ED}" srcOrd="1" destOrd="0" presId="urn:microsoft.com/office/officeart/2005/8/layout/orgChart1"/>
    <dgm:cxn modelId="{D662C907-0162-40AD-8466-F1C2AD9E9A76}" srcId="{29B11A98-9D33-4B61-A1C4-0BD1F530C062}" destId="{8F47B722-8C74-4E42-959D-B200DD9A0423}" srcOrd="1" destOrd="0" parTransId="{F93C97F4-BFB9-4CC0-9E4E-8D85C7FC5B0C}" sibTransId="{2828F8D8-B92D-4B85-882F-546C78C90802}"/>
    <dgm:cxn modelId="{1426E032-F01D-46FE-8674-C89293DC5D1E}" srcId="{01D388E7-1A65-41B1-B0F3-C1E8B9DFB691}" destId="{40FF39DC-82F8-41CA-B7B9-CC56D9A5B34B}" srcOrd="0" destOrd="0" parTransId="{16CFFC99-9FC8-48B6-901B-664BBBB409D2}" sibTransId="{64E9D940-0D52-4098-8436-5E2DDB56F059}"/>
    <dgm:cxn modelId="{ECB686FA-5660-4CEB-B5A9-09FDB3A2F019}" type="presParOf" srcId="{398E9BCF-C768-462A-9BB8-E58EF94C9791}" destId="{46FF936B-8170-4A2A-913C-17A225348A7D}" srcOrd="0" destOrd="0" presId="urn:microsoft.com/office/officeart/2005/8/layout/orgChart1"/>
    <dgm:cxn modelId="{DA4D0011-FBB4-4480-BB40-26903A060328}" type="presParOf" srcId="{46FF936B-8170-4A2A-913C-17A225348A7D}" destId="{DA9A4186-AF46-462D-AE70-284078B8564B}" srcOrd="0" destOrd="0" presId="urn:microsoft.com/office/officeart/2005/8/layout/orgChart1"/>
    <dgm:cxn modelId="{53D60A97-C2AC-4D5C-BCE5-24E1741458F4}" type="presParOf" srcId="{DA9A4186-AF46-462D-AE70-284078B8564B}" destId="{5197FF8D-FC58-4291-A413-97D4B3FFC8DA}" srcOrd="0" destOrd="0" presId="urn:microsoft.com/office/officeart/2005/8/layout/orgChart1"/>
    <dgm:cxn modelId="{D9A7A91C-B9F4-41AF-8504-A7BA089D1E0A}" type="presParOf" srcId="{DA9A4186-AF46-462D-AE70-284078B8564B}" destId="{970D5FEC-0549-4E44-BEF7-3C055DD5E0EB}" srcOrd="1" destOrd="0" presId="urn:microsoft.com/office/officeart/2005/8/layout/orgChart1"/>
    <dgm:cxn modelId="{CE153B01-BBB5-4126-81AC-ECBC1E6B26EA}" type="presParOf" srcId="{46FF936B-8170-4A2A-913C-17A225348A7D}" destId="{0BF78FBB-D317-446E-9AD3-DB8B8F00D801}" srcOrd="1" destOrd="0" presId="urn:microsoft.com/office/officeart/2005/8/layout/orgChart1"/>
    <dgm:cxn modelId="{A498A1C3-B7F5-4190-8E17-B9F1D3C0ECC6}" type="presParOf" srcId="{0BF78FBB-D317-446E-9AD3-DB8B8F00D801}" destId="{7BC8F406-0DC9-45A7-B698-8C9D764F5402}" srcOrd="0" destOrd="0" presId="urn:microsoft.com/office/officeart/2005/8/layout/orgChart1"/>
    <dgm:cxn modelId="{395586B5-DFBA-4D8E-B86A-35A3F3E6C64B}" type="presParOf" srcId="{0BF78FBB-D317-446E-9AD3-DB8B8F00D801}" destId="{78526B1E-FFBC-43D5-ACAB-EF8344C937F6}" srcOrd="1" destOrd="0" presId="urn:microsoft.com/office/officeart/2005/8/layout/orgChart1"/>
    <dgm:cxn modelId="{FB9373A8-BBDB-4113-8D1B-D9F7A066C008}" type="presParOf" srcId="{78526B1E-FFBC-43D5-ACAB-EF8344C937F6}" destId="{2A128AAE-DE8B-4E5D-AB0C-7841B607A826}" srcOrd="0" destOrd="0" presId="urn:microsoft.com/office/officeart/2005/8/layout/orgChart1"/>
    <dgm:cxn modelId="{B340786C-8CCA-499C-819D-72168BAA6422}" type="presParOf" srcId="{2A128AAE-DE8B-4E5D-AB0C-7841B607A826}" destId="{5AEC8923-A78B-4727-9ED7-DE90C1D72093}" srcOrd="0" destOrd="0" presId="urn:microsoft.com/office/officeart/2005/8/layout/orgChart1"/>
    <dgm:cxn modelId="{4F0BC9D1-47C8-4901-A0D4-332F4876C064}" type="presParOf" srcId="{2A128AAE-DE8B-4E5D-AB0C-7841B607A826}" destId="{BAAD8B09-C8BE-4781-80CB-CD68113FA53E}" srcOrd="1" destOrd="0" presId="urn:microsoft.com/office/officeart/2005/8/layout/orgChart1"/>
    <dgm:cxn modelId="{9EEE3113-65AE-491E-9A5C-5E20406E841D}" type="presParOf" srcId="{78526B1E-FFBC-43D5-ACAB-EF8344C937F6}" destId="{C90D97AC-CE11-49EE-AAEC-588FFD175229}" srcOrd="1" destOrd="0" presId="urn:microsoft.com/office/officeart/2005/8/layout/orgChart1"/>
    <dgm:cxn modelId="{C0B0708F-9373-48B6-8A3A-8E87DA7A57BF}" type="presParOf" srcId="{C90D97AC-CE11-49EE-AAEC-588FFD175229}" destId="{32A11FE5-1E99-4AA1-95A6-D2087475E7BF}" srcOrd="0" destOrd="0" presId="urn:microsoft.com/office/officeart/2005/8/layout/orgChart1"/>
    <dgm:cxn modelId="{0F46ECEE-F209-4DA0-BCE8-0D1812FBC9AC}" type="presParOf" srcId="{C90D97AC-CE11-49EE-AAEC-588FFD175229}" destId="{26F1DFD7-6176-45F3-8276-11ADA6DCB685}" srcOrd="1" destOrd="0" presId="urn:microsoft.com/office/officeart/2005/8/layout/orgChart1"/>
    <dgm:cxn modelId="{836BE48B-59D3-4298-B394-9E4BE9D07777}" type="presParOf" srcId="{26F1DFD7-6176-45F3-8276-11ADA6DCB685}" destId="{53453E6A-98E0-4161-91AD-E61F8BA68171}" srcOrd="0" destOrd="0" presId="urn:microsoft.com/office/officeart/2005/8/layout/orgChart1"/>
    <dgm:cxn modelId="{C9BE6310-2837-4A10-95FF-C476732230DC}" type="presParOf" srcId="{53453E6A-98E0-4161-91AD-E61F8BA68171}" destId="{06706562-2085-4C5D-9F32-D879389E4EC6}" srcOrd="0" destOrd="0" presId="urn:microsoft.com/office/officeart/2005/8/layout/orgChart1"/>
    <dgm:cxn modelId="{74D23460-FA88-4B74-873B-C44CEA43F05F}" type="presParOf" srcId="{53453E6A-98E0-4161-91AD-E61F8BA68171}" destId="{F8054045-13C6-4793-90B2-93AE757394FE}" srcOrd="1" destOrd="0" presId="urn:microsoft.com/office/officeart/2005/8/layout/orgChart1"/>
    <dgm:cxn modelId="{9FF4AD72-EE18-4D11-BC2E-1D8D688FDF57}" type="presParOf" srcId="{26F1DFD7-6176-45F3-8276-11ADA6DCB685}" destId="{971B6693-7855-404E-BAE7-F8CD561D6D63}" srcOrd="1" destOrd="0" presId="urn:microsoft.com/office/officeart/2005/8/layout/orgChart1"/>
    <dgm:cxn modelId="{67E7E2AE-0BB0-488F-9B53-2873D12EECBC}" type="presParOf" srcId="{971B6693-7855-404E-BAE7-F8CD561D6D63}" destId="{698508D6-C93E-4E49-A7B9-B4DA6FBDF86C}" srcOrd="0" destOrd="0" presId="urn:microsoft.com/office/officeart/2005/8/layout/orgChart1"/>
    <dgm:cxn modelId="{67AA3AD1-5662-49EC-B972-3C9955230A8A}" type="presParOf" srcId="{971B6693-7855-404E-BAE7-F8CD561D6D63}" destId="{B15BDACE-8935-4836-A28A-52D1BEBC4661}" srcOrd="1" destOrd="0" presId="urn:microsoft.com/office/officeart/2005/8/layout/orgChart1"/>
    <dgm:cxn modelId="{4C1D4903-DB8C-4B41-99A8-BF814E2A4082}" type="presParOf" srcId="{B15BDACE-8935-4836-A28A-52D1BEBC4661}" destId="{0936F836-F7D1-4462-A72D-0A876A9DCC62}" srcOrd="0" destOrd="0" presId="urn:microsoft.com/office/officeart/2005/8/layout/orgChart1"/>
    <dgm:cxn modelId="{1918D0DA-4CF0-4E6F-8704-C258BA16B244}" type="presParOf" srcId="{0936F836-F7D1-4462-A72D-0A876A9DCC62}" destId="{366FD547-57D6-420F-8969-85C85847F670}" srcOrd="0" destOrd="0" presId="urn:microsoft.com/office/officeart/2005/8/layout/orgChart1"/>
    <dgm:cxn modelId="{327C2014-2144-4361-BE90-15350042D55A}" type="presParOf" srcId="{0936F836-F7D1-4462-A72D-0A876A9DCC62}" destId="{EB94A250-EE4C-4630-9677-2500B1056E16}" srcOrd="1" destOrd="0" presId="urn:microsoft.com/office/officeart/2005/8/layout/orgChart1"/>
    <dgm:cxn modelId="{64BB0681-1C21-473B-BE9F-569A07BF23A1}" type="presParOf" srcId="{B15BDACE-8935-4836-A28A-52D1BEBC4661}" destId="{BC0E8686-C84C-4FAD-A7B0-739E912D23F8}" srcOrd="1" destOrd="0" presId="urn:microsoft.com/office/officeart/2005/8/layout/orgChart1"/>
    <dgm:cxn modelId="{3EA7795B-63B2-4DA8-A910-E14385BBFAC8}" type="presParOf" srcId="{BC0E8686-C84C-4FAD-A7B0-739E912D23F8}" destId="{2D029B3C-3925-4BAB-B7CE-DDBF143FAE99}" srcOrd="0" destOrd="0" presId="urn:microsoft.com/office/officeart/2005/8/layout/orgChart1"/>
    <dgm:cxn modelId="{1109DEB5-C551-4686-AF85-9B983F20E040}" type="presParOf" srcId="{BC0E8686-C84C-4FAD-A7B0-739E912D23F8}" destId="{1D7DBBC8-7104-4AE1-8227-AE532A445ECF}" srcOrd="1" destOrd="0" presId="urn:microsoft.com/office/officeart/2005/8/layout/orgChart1"/>
    <dgm:cxn modelId="{E2B643B4-4A7F-4CE7-89B3-DD1720724363}" type="presParOf" srcId="{1D7DBBC8-7104-4AE1-8227-AE532A445ECF}" destId="{21DA3123-FEB3-4918-BE8A-C4914DBBE847}" srcOrd="0" destOrd="0" presId="urn:microsoft.com/office/officeart/2005/8/layout/orgChart1"/>
    <dgm:cxn modelId="{6D3C671A-8437-421D-A6EF-149F6EDAFA51}" type="presParOf" srcId="{21DA3123-FEB3-4918-BE8A-C4914DBBE847}" destId="{DBB318E6-0EF9-497A-8A98-B81193AEB0FD}" srcOrd="0" destOrd="0" presId="urn:microsoft.com/office/officeart/2005/8/layout/orgChart1"/>
    <dgm:cxn modelId="{E15338DE-2EB9-46CF-9384-56AFD804DE10}" type="presParOf" srcId="{21DA3123-FEB3-4918-BE8A-C4914DBBE847}" destId="{3A6590FC-A54C-4CD1-9E38-DB6377E0B842}" srcOrd="1" destOrd="0" presId="urn:microsoft.com/office/officeart/2005/8/layout/orgChart1"/>
    <dgm:cxn modelId="{81CE98E2-F7B4-46FF-9D42-94D29D658B87}" type="presParOf" srcId="{1D7DBBC8-7104-4AE1-8227-AE532A445ECF}" destId="{2969455F-5146-4786-8974-30701613F8E5}" srcOrd="1" destOrd="0" presId="urn:microsoft.com/office/officeart/2005/8/layout/orgChart1"/>
    <dgm:cxn modelId="{620CDB77-1C44-49F5-BEB6-AD7B0985C8B9}" type="presParOf" srcId="{1D7DBBC8-7104-4AE1-8227-AE532A445ECF}" destId="{16440DD0-E5DE-46B7-8BA1-09C08D6D92DF}" srcOrd="2" destOrd="0" presId="urn:microsoft.com/office/officeart/2005/8/layout/orgChart1"/>
    <dgm:cxn modelId="{B3272314-F54B-4168-BAC4-A4D7FBA9A006}" type="presParOf" srcId="{B15BDACE-8935-4836-A28A-52D1BEBC4661}" destId="{6FA85FFE-0E29-4D3A-8559-9333DFFC306A}" srcOrd="2" destOrd="0" presId="urn:microsoft.com/office/officeart/2005/8/layout/orgChart1"/>
    <dgm:cxn modelId="{685F2C70-CF46-4413-A0EF-5EA57B0262A7}" type="presParOf" srcId="{26F1DFD7-6176-45F3-8276-11ADA6DCB685}" destId="{290416AC-1979-4604-9930-F25DD712C390}" srcOrd="2" destOrd="0" presId="urn:microsoft.com/office/officeart/2005/8/layout/orgChart1"/>
    <dgm:cxn modelId="{67068C5E-CD43-4BE0-AF6C-D07A12A18D1B}" type="presParOf" srcId="{78526B1E-FFBC-43D5-ACAB-EF8344C937F6}" destId="{CD5488BC-8F6C-4A2E-9431-200F8E798A8F}" srcOrd="2" destOrd="0" presId="urn:microsoft.com/office/officeart/2005/8/layout/orgChart1"/>
    <dgm:cxn modelId="{A5B4BB74-6574-4DEC-BD48-9451827C038B}" type="presParOf" srcId="{0BF78FBB-D317-446E-9AD3-DB8B8F00D801}" destId="{E3F6FB8C-F2C7-4BA2-AA1B-64E02C01B378}" srcOrd="2" destOrd="0" presId="urn:microsoft.com/office/officeart/2005/8/layout/orgChart1"/>
    <dgm:cxn modelId="{B796187E-DC8A-48DF-9103-865CA08AE3B7}" type="presParOf" srcId="{0BF78FBB-D317-446E-9AD3-DB8B8F00D801}" destId="{2CDBDA91-9AC1-4682-8296-1038470C176C}" srcOrd="3" destOrd="0" presId="urn:microsoft.com/office/officeart/2005/8/layout/orgChart1"/>
    <dgm:cxn modelId="{8A0E0FFD-6FFE-439A-9051-CB957EA5073C}" type="presParOf" srcId="{2CDBDA91-9AC1-4682-8296-1038470C176C}" destId="{1B3E4DFD-B199-410F-8F3C-2FD61C72253D}" srcOrd="0" destOrd="0" presId="urn:microsoft.com/office/officeart/2005/8/layout/orgChart1"/>
    <dgm:cxn modelId="{E84A18AE-590B-426D-A06B-901AA5043296}" type="presParOf" srcId="{1B3E4DFD-B199-410F-8F3C-2FD61C72253D}" destId="{8A7301E4-6839-4A0B-BBD5-6C11DD40797D}" srcOrd="0" destOrd="0" presId="urn:microsoft.com/office/officeart/2005/8/layout/orgChart1"/>
    <dgm:cxn modelId="{DC56281F-1A03-44B7-8A45-C92C9AB151D9}" type="presParOf" srcId="{1B3E4DFD-B199-410F-8F3C-2FD61C72253D}" destId="{FF0CBA67-A219-4313-B4DC-C4682C06DE52}" srcOrd="1" destOrd="0" presId="urn:microsoft.com/office/officeart/2005/8/layout/orgChart1"/>
    <dgm:cxn modelId="{F28BB7FB-C244-4E62-AF52-BCD7BFB3FD42}" type="presParOf" srcId="{2CDBDA91-9AC1-4682-8296-1038470C176C}" destId="{4AA8A3AB-1233-4958-8CFE-0A4B7E231FF3}" srcOrd="1" destOrd="0" presId="urn:microsoft.com/office/officeart/2005/8/layout/orgChart1"/>
    <dgm:cxn modelId="{0B715C84-BB53-439B-9BAD-AB7913C54ADC}" type="presParOf" srcId="{4AA8A3AB-1233-4958-8CFE-0A4B7E231FF3}" destId="{6DF3FE2B-F1DA-4413-8913-2B9E5EE9BE1A}" srcOrd="0" destOrd="0" presId="urn:microsoft.com/office/officeart/2005/8/layout/orgChart1"/>
    <dgm:cxn modelId="{539ABD5F-D489-42CE-949E-1043B138BC4E}" type="presParOf" srcId="{4AA8A3AB-1233-4958-8CFE-0A4B7E231FF3}" destId="{54B3288E-B666-4374-923C-D90F5AEE32CD}" srcOrd="1" destOrd="0" presId="urn:microsoft.com/office/officeart/2005/8/layout/orgChart1"/>
    <dgm:cxn modelId="{A01E58AA-EAAA-4C79-8759-02D25A90BF1C}" type="presParOf" srcId="{54B3288E-B666-4374-923C-D90F5AEE32CD}" destId="{D06B4687-D0A7-4E1D-AC27-97BC1EDCED1C}" srcOrd="0" destOrd="0" presId="urn:microsoft.com/office/officeart/2005/8/layout/orgChart1"/>
    <dgm:cxn modelId="{DF19004B-5B64-41E1-9C3C-8D4304CF7879}" type="presParOf" srcId="{D06B4687-D0A7-4E1D-AC27-97BC1EDCED1C}" destId="{14C0F6B3-7708-4CAD-B8EC-E9A689648763}" srcOrd="0" destOrd="0" presId="urn:microsoft.com/office/officeart/2005/8/layout/orgChart1"/>
    <dgm:cxn modelId="{AEF9C18D-51EE-435B-B3E4-6DD70F7FB9C7}" type="presParOf" srcId="{D06B4687-D0A7-4E1D-AC27-97BC1EDCED1C}" destId="{23F6EC11-8BB0-4EB2-9B75-2CB751E9AFFE}" srcOrd="1" destOrd="0" presId="urn:microsoft.com/office/officeart/2005/8/layout/orgChart1"/>
    <dgm:cxn modelId="{52098B2E-FDF3-4DBA-8387-5A3E82B54887}" type="presParOf" srcId="{54B3288E-B666-4374-923C-D90F5AEE32CD}" destId="{8DAC05B8-3347-401A-AC34-1F37CAA9A202}" srcOrd="1" destOrd="0" presId="urn:microsoft.com/office/officeart/2005/8/layout/orgChart1"/>
    <dgm:cxn modelId="{0674B370-FD6C-4C9E-A81F-BE52FE1DDFC9}" type="presParOf" srcId="{8DAC05B8-3347-401A-AC34-1F37CAA9A202}" destId="{25490263-AA39-456D-B8BE-13FAC661C19E}" srcOrd="0" destOrd="0" presId="urn:microsoft.com/office/officeart/2005/8/layout/orgChart1"/>
    <dgm:cxn modelId="{EA0E4BC4-DFE8-4524-B948-7D72CD394961}" type="presParOf" srcId="{8DAC05B8-3347-401A-AC34-1F37CAA9A202}" destId="{A7623238-7A87-444A-BECE-36F25C02AB04}" srcOrd="1" destOrd="0" presId="urn:microsoft.com/office/officeart/2005/8/layout/orgChart1"/>
    <dgm:cxn modelId="{D6CC6FFC-C645-4CB4-8964-F66C422B3850}" type="presParOf" srcId="{A7623238-7A87-444A-BECE-36F25C02AB04}" destId="{F128C1E1-4636-499A-8DDA-C929293BCC95}" srcOrd="0" destOrd="0" presId="urn:microsoft.com/office/officeart/2005/8/layout/orgChart1"/>
    <dgm:cxn modelId="{BB598B6A-9773-4A8D-B0EA-5FE5129B6934}" type="presParOf" srcId="{F128C1E1-4636-499A-8DDA-C929293BCC95}" destId="{09CA3129-8B94-4B14-958F-A7CA4D18A9B9}" srcOrd="0" destOrd="0" presId="urn:microsoft.com/office/officeart/2005/8/layout/orgChart1"/>
    <dgm:cxn modelId="{4AD7B4E7-20BA-46D2-8BE5-490510DE9172}" type="presParOf" srcId="{F128C1E1-4636-499A-8DDA-C929293BCC95}" destId="{A135482C-7C3E-4A3A-AB63-C361DE474E45}" srcOrd="1" destOrd="0" presId="urn:microsoft.com/office/officeart/2005/8/layout/orgChart1"/>
    <dgm:cxn modelId="{59A0CFE9-FC24-4660-8B13-233150C18534}" type="presParOf" srcId="{A7623238-7A87-444A-BECE-36F25C02AB04}" destId="{CF744B91-7569-4802-944A-D4867A059610}" srcOrd="1" destOrd="0" presId="urn:microsoft.com/office/officeart/2005/8/layout/orgChart1"/>
    <dgm:cxn modelId="{134EC042-F54B-42E3-AB78-7598B1F934EB}" type="presParOf" srcId="{CF744B91-7569-4802-944A-D4867A059610}" destId="{7A2DCF16-4793-4F62-8615-1A86A0383840}" srcOrd="0" destOrd="0" presId="urn:microsoft.com/office/officeart/2005/8/layout/orgChart1"/>
    <dgm:cxn modelId="{567CCD13-AF84-4580-AD51-96B1B5B399C0}" type="presParOf" srcId="{CF744B91-7569-4802-944A-D4867A059610}" destId="{E4FCECBF-E460-48FA-A15E-DCF2DC70EEBD}" srcOrd="1" destOrd="0" presId="urn:microsoft.com/office/officeart/2005/8/layout/orgChart1"/>
    <dgm:cxn modelId="{D7C47885-D888-4C62-B793-A353FDE154D5}" type="presParOf" srcId="{E4FCECBF-E460-48FA-A15E-DCF2DC70EEBD}" destId="{1C00396D-C161-4B99-9732-5D9ED84D37CB}" srcOrd="0" destOrd="0" presId="urn:microsoft.com/office/officeart/2005/8/layout/orgChart1"/>
    <dgm:cxn modelId="{F1AFBD8F-829E-4A5E-A3DA-6C9C87C2906A}" type="presParOf" srcId="{1C00396D-C161-4B99-9732-5D9ED84D37CB}" destId="{1B6B3A2C-2B86-46D8-8C2F-D122B2AA83BF}" srcOrd="0" destOrd="0" presId="urn:microsoft.com/office/officeart/2005/8/layout/orgChart1"/>
    <dgm:cxn modelId="{A5A12514-42AC-4C9F-8095-49FE9581FD15}" type="presParOf" srcId="{1C00396D-C161-4B99-9732-5D9ED84D37CB}" destId="{03DFBC13-575B-44C5-9411-8C49A89188ED}" srcOrd="1" destOrd="0" presId="urn:microsoft.com/office/officeart/2005/8/layout/orgChart1"/>
    <dgm:cxn modelId="{942ED60A-A4F2-498B-B9B2-F097AC7B7E96}" type="presParOf" srcId="{E4FCECBF-E460-48FA-A15E-DCF2DC70EEBD}" destId="{E40509C5-A16B-48FF-B1F2-E683DC65CAEC}" srcOrd="1" destOrd="0" presId="urn:microsoft.com/office/officeart/2005/8/layout/orgChart1"/>
    <dgm:cxn modelId="{6E591714-3067-47FD-B009-C0199A84CEF7}" type="presParOf" srcId="{E40509C5-A16B-48FF-B1F2-E683DC65CAEC}" destId="{00C1FD16-2F46-47BB-BF0F-C1D434EB35EE}" srcOrd="0" destOrd="0" presId="urn:microsoft.com/office/officeart/2005/8/layout/orgChart1"/>
    <dgm:cxn modelId="{E63A1F13-479E-4C47-8E81-4E36632A572E}" type="presParOf" srcId="{E40509C5-A16B-48FF-B1F2-E683DC65CAEC}" destId="{A06EB592-63C2-4466-A8AD-17450E8479B6}" srcOrd="1" destOrd="0" presId="urn:microsoft.com/office/officeart/2005/8/layout/orgChart1"/>
    <dgm:cxn modelId="{CCC3EAB8-603A-4DBA-88BC-A2307C8F2AD6}" type="presParOf" srcId="{A06EB592-63C2-4466-A8AD-17450E8479B6}" destId="{F096C677-04DC-4D27-AAE7-612F20DF6EBA}" srcOrd="0" destOrd="0" presId="urn:microsoft.com/office/officeart/2005/8/layout/orgChart1"/>
    <dgm:cxn modelId="{8DCE8240-B55B-4534-B4E6-477E062BD904}" type="presParOf" srcId="{F096C677-04DC-4D27-AAE7-612F20DF6EBA}" destId="{0CEF3506-6E37-4655-993C-7C8FD251AC4E}" srcOrd="0" destOrd="0" presId="urn:microsoft.com/office/officeart/2005/8/layout/orgChart1"/>
    <dgm:cxn modelId="{F40E4708-E47A-43E0-B5B1-83E500922D18}" type="presParOf" srcId="{F096C677-04DC-4D27-AAE7-612F20DF6EBA}" destId="{26805636-D31E-43BA-8879-D61E1A01CD81}" srcOrd="1" destOrd="0" presId="urn:microsoft.com/office/officeart/2005/8/layout/orgChart1"/>
    <dgm:cxn modelId="{5E00CE8E-BA88-4E89-BD74-48F4EFFFCE9F}" type="presParOf" srcId="{A06EB592-63C2-4466-A8AD-17450E8479B6}" destId="{E8F82A9E-EE69-4207-AD52-B8FF3E26A3A7}" srcOrd="1" destOrd="0" presId="urn:microsoft.com/office/officeart/2005/8/layout/orgChart1"/>
    <dgm:cxn modelId="{92ACB0B9-CFF6-4BBC-B9DA-C57197C799D7}" type="presParOf" srcId="{A06EB592-63C2-4466-A8AD-17450E8479B6}" destId="{8CEBFE10-552B-4804-AC47-003306650626}" srcOrd="2" destOrd="0" presId="urn:microsoft.com/office/officeart/2005/8/layout/orgChart1"/>
    <dgm:cxn modelId="{FE6CB40E-B632-4E63-ADE6-4097EC86A6A6}" type="presParOf" srcId="{E4FCECBF-E460-48FA-A15E-DCF2DC70EEBD}" destId="{F075DDE6-0972-41D9-B707-D8687CA19B0A}" srcOrd="2" destOrd="0" presId="urn:microsoft.com/office/officeart/2005/8/layout/orgChart1"/>
    <dgm:cxn modelId="{2496CC32-1DEC-4C3D-BCFF-974D3102C30B}" type="presParOf" srcId="{A7623238-7A87-444A-BECE-36F25C02AB04}" destId="{EEB5EBBD-A7A9-4BB5-A632-DFF511FD3D0A}" srcOrd="2" destOrd="0" presId="urn:microsoft.com/office/officeart/2005/8/layout/orgChart1"/>
    <dgm:cxn modelId="{F41B199A-B92A-44CF-B8FD-721ED6ABC62E}" type="presParOf" srcId="{54B3288E-B666-4374-923C-D90F5AEE32CD}" destId="{0DBA6529-6650-4132-ACCC-7D7D69DC460D}" srcOrd="2" destOrd="0" presId="urn:microsoft.com/office/officeart/2005/8/layout/orgChart1"/>
    <dgm:cxn modelId="{0AA6568E-2DDA-4B20-9F74-FC1FC57B52E0}" type="presParOf" srcId="{2CDBDA91-9AC1-4682-8296-1038470C176C}" destId="{9E88C892-72D1-478E-AEF5-D0D8B808C5FF}" srcOrd="2" destOrd="0" presId="urn:microsoft.com/office/officeart/2005/8/layout/orgChart1"/>
    <dgm:cxn modelId="{F5189F71-F9D6-42A7-B5C2-58BDF20C6243}" type="presParOf" srcId="{0BF78FBB-D317-446E-9AD3-DB8B8F00D801}" destId="{E68009D5-0F24-495C-B17E-71B0D4EE1A02}" srcOrd="4" destOrd="0" presId="urn:microsoft.com/office/officeart/2005/8/layout/orgChart1"/>
    <dgm:cxn modelId="{D50A41FC-72F3-413F-B640-077DA0881A46}" type="presParOf" srcId="{0BF78FBB-D317-446E-9AD3-DB8B8F00D801}" destId="{7DA6822D-491A-44ED-B51B-1166D53CAABE}" srcOrd="5" destOrd="0" presId="urn:microsoft.com/office/officeart/2005/8/layout/orgChart1"/>
    <dgm:cxn modelId="{85365F3F-AF99-4675-8A92-9DCA678760EB}" type="presParOf" srcId="{7DA6822D-491A-44ED-B51B-1166D53CAABE}" destId="{9CEF4D66-75FA-4B91-BFA0-248F2700F391}" srcOrd="0" destOrd="0" presId="urn:microsoft.com/office/officeart/2005/8/layout/orgChart1"/>
    <dgm:cxn modelId="{ABD2C1D5-F7D0-4B4C-B85C-88B58FF91499}" type="presParOf" srcId="{9CEF4D66-75FA-4B91-BFA0-248F2700F391}" destId="{7E3A5B43-1594-4AEF-A8C9-9DDF3845EB77}" srcOrd="0" destOrd="0" presId="urn:microsoft.com/office/officeart/2005/8/layout/orgChart1"/>
    <dgm:cxn modelId="{07D81474-9785-4FA5-84A1-E0E1FD563FCD}" type="presParOf" srcId="{9CEF4D66-75FA-4B91-BFA0-248F2700F391}" destId="{A814F93A-BA38-4945-8DB7-3A338E9C09C0}" srcOrd="1" destOrd="0" presId="urn:microsoft.com/office/officeart/2005/8/layout/orgChart1"/>
    <dgm:cxn modelId="{58462AB9-8270-4B1D-8165-0C8AE79B14A9}" type="presParOf" srcId="{7DA6822D-491A-44ED-B51B-1166D53CAABE}" destId="{3824A08B-6BDF-4345-AF53-B824C1AADBA0}" srcOrd="1" destOrd="0" presId="urn:microsoft.com/office/officeart/2005/8/layout/orgChart1"/>
    <dgm:cxn modelId="{A990491F-F79F-4C8C-B068-AF4C89BCD162}" type="presParOf" srcId="{3824A08B-6BDF-4345-AF53-B824C1AADBA0}" destId="{DFCF65C2-1D4E-4203-8483-263873D3B705}" srcOrd="0" destOrd="0" presId="urn:microsoft.com/office/officeart/2005/8/layout/orgChart1"/>
    <dgm:cxn modelId="{3F891632-6DB4-4F17-89CD-939C42BBB194}" type="presParOf" srcId="{3824A08B-6BDF-4345-AF53-B824C1AADBA0}" destId="{A5DC6E14-2DD8-4A4D-9B0E-11E200E26A73}" srcOrd="1" destOrd="0" presId="urn:microsoft.com/office/officeart/2005/8/layout/orgChart1"/>
    <dgm:cxn modelId="{48CE3ADF-3223-45E5-89F5-5B0725FB5AEB}" type="presParOf" srcId="{A5DC6E14-2DD8-4A4D-9B0E-11E200E26A73}" destId="{92B72518-CFA3-4035-9BF7-97ECA93F9B62}" srcOrd="0" destOrd="0" presId="urn:microsoft.com/office/officeart/2005/8/layout/orgChart1"/>
    <dgm:cxn modelId="{45A1B9A8-7D82-4EAC-8507-40A7E99F5345}" type="presParOf" srcId="{92B72518-CFA3-4035-9BF7-97ECA93F9B62}" destId="{65C0A499-92EB-45F2-949A-1B73F4D033F2}" srcOrd="0" destOrd="0" presId="urn:microsoft.com/office/officeart/2005/8/layout/orgChart1"/>
    <dgm:cxn modelId="{F469DA0A-9A90-4106-B92C-966E8CBAC856}" type="presParOf" srcId="{92B72518-CFA3-4035-9BF7-97ECA93F9B62}" destId="{98E166B0-531E-43B7-8A97-C6036663D8E6}" srcOrd="1" destOrd="0" presId="urn:microsoft.com/office/officeart/2005/8/layout/orgChart1"/>
    <dgm:cxn modelId="{27E94576-E8B9-4476-B731-6276905155E4}" type="presParOf" srcId="{A5DC6E14-2DD8-4A4D-9B0E-11E200E26A73}" destId="{4B08A774-F3F2-47E7-B366-6D92574A5B17}" srcOrd="1" destOrd="0" presId="urn:microsoft.com/office/officeart/2005/8/layout/orgChart1"/>
    <dgm:cxn modelId="{B4C09C2A-72E4-4B14-AAFD-25A41D3B4716}" type="presParOf" srcId="{4B08A774-F3F2-47E7-B366-6D92574A5B17}" destId="{4BA0D1F8-7A76-45FB-9F8B-A143F3689240}" srcOrd="0" destOrd="0" presId="urn:microsoft.com/office/officeart/2005/8/layout/orgChart1"/>
    <dgm:cxn modelId="{63AB7703-0FA9-490B-9931-7FCD478759B7}" type="presParOf" srcId="{4B08A774-F3F2-47E7-B366-6D92574A5B17}" destId="{12AEE908-2F1F-4FE8-84C2-1496551E89D4}" srcOrd="1" destOrd="0" presId="urn:microsoft.com/office/officeart/2005/8/layout/orgChart1"/>
    <dgm:cxn modelId="{ADEFC587-20D0-49A6-B890-9FD40A5611E2}" type="presParOf" srcId="{12AEE908-2F1F-4FE8-84C2-1496551E89D4}" destId="{2AF134DD-D125-43F2-BD07-897080FFDF25}" srcOrd="0" destOrd="0" presId="urn:microsoft.com/office/officeart/2005/8/layout/orgChart1"/>
    <dgm:cxn modelId="{5AEBD5D5-A723-44B8-A9BC-0DBF14A1BBD9}" type="presParOf" srcId="{2AF134DD-D125-43F2-BD07-897080FFDF25}" destId="{C991FD64-A9E4-4E4E-9AC8-B5BEFA41DAF1}" srcOrd="0" destOrd="0" presId="urn:microsoft.com/office/officeart/2005/8/layout/orgChart1"/>
    <dgm:cxn modelId="{2611D160-EBA0-4D75-93BE-EDEE085E73CC}" type="presParOf" srcId="{2AF134DD-D125-43F2-BD07-897080FFDF25}" destId="{FBAD4223-2F15-4A1F-8B72-E4CEE4217AF4}" srcOrd="1" destOrd="0" presId="urn:microsoft.com/office/officeart/2005/8/layout/orgChart1"/>
    <dgm:cxn modelId="{6FD3FEDE-97DE-4CDC-8286-021E2EFA0E01}" type="presParOf" srcId="{12AEE908-2F1F-4FE8-84C2-1496551E89D4}" destId="{C5A3C17C-C0D3-4D9C-B316-2F4236677811}" srcOrd="1" destOrd="0" presId="urn:microsoft.com/office/officeart/2005/8/layout/orgChart1"/>
    <dgm:cxn modelId="{E6488097-1C0B-4B8C-B6C9-9B8C19FD9E11}" type="presParOf" srcId="{12AEE908-2F1F-4FE8-84C2-1496551E89D4}" destId="{C3F37AC0-70D0-4F54-A65E-747CB71F0DAB}" srcOrd="2" destOrd="0" presId="urn:microsoft.com/office/officeart/2005/8/layout/orgChart1"/>
    <dgm:cxn modelId="{4D17C720-B985-40DC-BA41-BCA700B0A6B7}" type="presParOf" srcId="{A5DC6E14-2DD8-4A4D-9B0E-11E200E26A73}" destId="{B3300620-D487-4901-A86B-5783BDDC333F}" srcOrd="2" destOrd="0" presId="urn:microsoft.com/office/officeart/2005/8/layout/orgChart1"/>
    <dgm:cxn modelId="{B06DF948-7595-42E2-80BE-2F1D7E60BA54}" type="presParOf" srcId="{7DA6822D-491A-44ED-B51B-1166D53CAABE}" destId="{574C65FD-5127-4961-9183-6E86A88ECCD2}" srcOrd="2" destOrd="0" presId="urn:microsoft.com/office/officeart/2005/8/layout/orgChart1"/>
    <dgm:cxn modelId="{8AC9E03F-BAA8-4CCC-B4CE-A75EAE16AC24}" type="presParOf" srcId="{0BF78FBB-D317-446E-9AD3-DB8B8F00D801}" destId="{7A7136E1-CBCF-4CD9-86AB-8BC82BD8452F}" srcOrd="6" destOrd="0" presId="urn:microsoft.com/office/officeart/2005/8/layout/orgChart1"/>
    <dgm:cxn modelId="{2C9CF72F-090D-4D30-B8E2-86522827C01B}" type="presParOf" srcId="{0BF78FBB-D317-446E-9AD3-DB8B8F00D801}" destId="{8606E31A-87FF-4F89-A1A8-D4BFAFE6E5CF}" srcOrd="7" destOrd="0" presId="urn:microsoft.com/office/officeart/2005/8/layout/orgChart1"/>
    <dgm:cxn modelId="{3973B5C2-3B88-4942-9A3E-CEF6078490BC}" type="presParOf" srcId="{8606E31A-87FF-4F89-A1A8-D4BFAFE6E5CF}" destId="{39A21E7D-5FD2-4C1B-AC1E-B463EE3413BD}" srcOrd="0" destOrd="0" presId="urn:microsoft.com/office/officeart/2005/8/layout/orgChart1"/>
    <dgm:cxn modelId="{7C05F720-4694-4692-AE65-DC91682107A0}" type="presParOf" srcId="{39A21E7D-5FD2-4C1B-AC1E-B463EE3413BD}" destId="{F64A5C08-9C7D-4E71-AB14-8CF1F43E6643}" srcOrd="0" destOrd="0" presId="urn:microsoft.com/office/officeart/2005/8/layout/orgChart1"/>
    <dgm:cxn modelId="{56E9DD6A-3A86-488D-8F3A-BCCB6734C387}" type="presParOf" srcId="{39A21E7D-5FD2-4C1B-AC1E-B463EE3413BD}" destId="{F6DBE938-79ED-4BB6-B601-50EF87574107}" srcOrd="1" destOrd="0" presId="urn:microsoft.com/office/officeart/2005/8/layout/orgChart1"/>
    <dgm:cxn modelId="{BFDD75D3-BBA8-489C-A0F1-A6F55178B1C5}" type="presParOf" srcId="{8606E31A-87FF-4F89-A1A8-D4BFAFE6E5CF}" destId="{C7C486AB-F20B-4403-937C-53D534A14EF0}" srcOrd="1" destOrd="0" presId="urn:microsoft.com/office/officeart/2005/8/layout/orgChart1"/>
    <dgm:cxn modelId="{0E7F4435-8123-4787-B9B3-5DB74B5502F0}" type="presParOf" srcId="{C7C486AB-F20B-4403-937C-53D534A14EF0}" destId="{1DDDFFC9-E5A8-4087-9E95-1FB681DF4CC5}" srcOrd="0" destOrd="0" presId="urn:microsoft.com/office/officeart/2005/8/layout/orgChart1"/>
    <dgm:cxn modelId="{C0DA226C-EF21-4D82-B08A-AD4CDFA3084B}" type="presParOf" srcId="{C7C486AB-F20B-4403-937C-53D534A14EF0}" destId="{74B48534-0830-4C78-8D0F-CEB92F1760D5}" srcOrd="1" destOrd="0" presId="urn:microsoft.com/office/officeart/2005/8/layout/orgChart1"/>
    <dgm:cxn modelId="{8776F42F-FD30-445F-B327-BFFA506DCD8A}" type="presParOf" srcId="{74B48534-0830-4C78-8D0F-CEB92F1760D5}" destId="{A1717F5A-B3B3-4867-9B2B-B647838EE0A5}" srcOrd="0" destOrd="0" presId="urn:microsoft.com/office/officeart/2005/8/layout/orgChart1"/>
    <dgm:cxn modelId="{269B1CEC-E79B-47AB-ADF7-53E76F1A5F50}" type="presParOf" srcId="{A1717F5A-B3B3-4867-9B2B-B647838EE0A5}" destId="{5FD5C512-6516-47ED-9F8C-384FE16B7384}" srcOrd="0" destOrd="0" presId="urn:microsoft.com/office/officeart/2005/8/layout/orgChart1"/>
    <dgm:cxn modelId="{D852BF57-7FD2-4ADA-9FFC-CC736E87879E}" type="presParOf" srcId="{A1717F5A-B3B3-4867-9B2B-B647838EE0A5}" destId="{B816DE43-F5B9-44F4-96FB-4400224641C9}" srcOrd="1" destOrd="0" presId="urn:microsoft.com/office/officeart/2005/8/layout/orgChart1"/>
    <dgm:cxn modelId="{9895B532-50D4-4E92-81D8-25B1458F3092}" type="presParOf" srcId="{74B48534-0830-4C78-8D0F-CEB92F1760D5}" destId="{9E1CC932-C84B-425A-9CA2-838019215862}" srcOrd="1" destOrd="0" presId="urn:microsoft.com/office/officeart/2005/8/layout/orgChart1"/>
    <dgm:cxn modelId="{885F91A7-1D44-4253-BDDC-C2E73D9D1CCD}" type="presParOf" srcId="{9E1CC932-C84B-425A-9CA2-838019215862}" destId="{521233A8-D573-4B60-A683-EDF0D588D1B0}" srcOrd="0" destOrd="0" presId="urn:microsoft.com/office/officeart/2005/8/layout/orgChart1"/>
    <dgm:cxn modelId="{F82E18ED-F7AD-4C83-973D-87633F127882}" type="presParOf" srcId="{9E1CC932-C84B-425A-9CA2-838019215862}" destId="{E0BD06EE-5594-42C7-BC30-731DAA94D2BA}" srcOrd="1" destOrd="0" presId="urn:microsoft.com/office/officeart/2005/8/layout/orgChart1"/>
    <dgm:cxn modelId="{AC85A2A8-990D-405A-928B-ECDE9462EAF0}" type="presParOf" srcId="{E0BD06EE-5594-42C7-BC30-731DAA94D2BA}" destId="{4ED81A1A-C4E5-4301-86B9-350A7D703552}" srcOrd="0" destOrd="0" presId="urn:microsoft.com/office/officeart/2005/8/layout/orgChart1"/>
    <dgm:cxn modelId="{DA5796D7-36DF-4F1D-BF63-50F8C2BBB47C}" type="presParOf" srcId="{4ED81A1A-C4E5-4301-86B9-350A7D703552}" destId="{B9693ECF-379B-46F1-BAA8-9600C9A06547}" srcOrd="0" destOrd="0" presId="urn:microsoft.com/office/officeart/2005/8/layout/orgChart1"/>
    <dgm:cxn modelId="{5C55A4E2-B1FB-408E-9668-A1615DC6E5E8}" type="presParOf" srcId="{4ED81A1A-C4E5-4301-86B9-350A7D703552}" destId="{424F4067-D8BB-48C6-9808-F81F05804206}" srcOrd="1" destOrd="0" presId="urn:microsoft.com/office/officeart/2005/8/layout/orgChart1"/>
    <dgm:cxn modelId="{685885A1-0642-43BD-9136-730404568620}" type="presParOf" srcId="{E0BD06EE-5594-42C7-BC30-731DAA94D2BA}" destId="{5DDC753C-8B00-497E-8252-D334A8C0BC7C}" srcOrd="1" destOrd="0" presId="urn:microsoft.com/office/officeart/2005/8/layout/orgChart1"/>
    <dgm:cxn modelId="{72F4A322-F654-4967-9481-3C7EC0572012}" type="presParOf" srcId="{E0BD06EE-5594-42C7-BC30-731DAA94D2BA}" destId="{0A103333-E84A-4D61-BD15-939EA6D9D10B}" srcOrd="2" destOrd="0" presId="urn:microsoft.com/office/officeart/2005/8/layout/orgChart1"/>
    <dgm:cxn modelId="{A632D1FC-89FF-41A7-BC68-4A9A424E5F20}" type="presParOf" srcId="{9E1CC932-C84B-425A-9CA2-838019215862}" destId="{12EC1DF9-C0B9-4358-AD1C-271BC88AAD04}" srcOrd="2" destOrd="0" presId="urn:microsoft.com/office/officeart/2005/8/layout/orgChart1"/>
    <dgm:cxn modelId="{D0E248ED-1B8D-45A5-9F23-647AA0876489}" type="presParOf" srcId="{9E1CC932-C84B-425A-9CA2-838019215862}" destId="{E5BE6DC1-0A8F-4F72-9252-2DA87A175637}" srcOrd="3" destOrd="0" presId="urn:microsoft.com/office/officeart/2005/8/layout/orgChart1"/>
    <dgm:cxn modelId="{A636532D-C4F3-4BE7-8315-DFC029062ABE}" type="presParOf" srcId="{E5BE6DC1-0A8F-4F72-9252-2DA87A175637}" destId="{43AF2A9B-D83F-4F77-8174-14C30D694409}" srcOrd="0" destOrd="0" presId="urn:microsoft.com/office/officeart/2005/8/layout/orgChart1"/>
    <dgm:cxn modelId="{8DABAE23-6C30-444B-BAC7-A8C938E8158B}" type="presParOf" srcId="{43AF2A9B-D83F-4F77-8174-14C30D694409}" destId="{45125ABD-33BD-40C4-AB3D-5B2FB9BE1271}" srcOrd="0" destOrd="0" presId="urn:microsoft.com/office/officeart/2005/8/layout/orgChart1"/>
    <dgm:cxn modelId="{186C903F-8F61-488E-B74F-10085BD62CCD}" type="presParOf" srcId="{43AF2A9B-D83F-4F77-8174-14C30D694409}" destId="{DCBC27F5-F150-43A1-9627-E35936BED7C3}" srcOrd="1" destOrd="0" presId="urn:microsoft.com/office/officeart/2005/8/layout/orgChart1"/>
    <dgm:cxn modelId="{9C8242C0-5366-4FB6-A9C7-410989084F2C}" type="presParOf" srcId="{E5BE6DC1-0A8F-4F72-9252-2DA87A175637}" destId="{0E7C9538-6B6D-483D-9F1F-8CCDFBDE41D4}" srcOrd="1" destOrd="0" presId="urn:microsoft.com/office/officeart/2005/8/layout/orgChart1"/>
    <dgm:cxn modelId="{A7014FCA-C294-4ABA-8E65-FA3424079197}" type="presParOf" srcId="{E5BE6DC1-0A8F-4F72-9252-2DA87A175637}" destId="{E5D9E7E1-66B4-4EB8-9FF5-7C30CA669C72}" srcOrd="2" destOrd="0" presId="urn:microsoft.com/office/officeart/2005/8/layout/orgChart1"/>
    <dgm:cxn modelId="{937132A1-00FA-4FBE-93B5-B37EB9DB7F49}" type="presParOf" srcId="{9E1CC932-C84B-425A-9CA2-838019215862}" destId="{13BFD89B-F024-46EC-82CB-922FA2F1BE4E}" srcOrd="4" destOrd="0" presId="urn:microsoft.com/office/officeart/2005/8/layout/orgChart1"/>
    <dgm:cxn modelId="{588FC9CF-66A8-480D-AD35-054627407DAB}" type="presParOf" srcId="{9E1CC932-C84B-425A-9CA2-838019215862}" destId="{B1AF9ECA-69F6-4BAC-89F7-85280CE6785C}" srcOrd="5" destOrd="0" presId="urn:microsoft.com/office/officeart/2005/8/layout/orgChart1"/>
    <dgm:cxn modelId="{9987A580-3371-4896-8286-D107AAA3E4BA}" type="presParOf" srcId="{B1AF9ECA-69F6-4BAC-89F7-85280CE6785C}" destId="{F8F118DC-5D29-4B48-B127-2D2520A38F69}" srcOrd="0" destOrd="0" presId="urn:microsoft.com/office/officeart/2005/8/layout/orgChart1"/>
    <dgm:cxn modelId="{F9699F03-131E-4AE5-A9FE-2A1956D2E4C8}" type="presParOf" srcId="{F8F118DC-5D29-4B48-B127-2D2520A38F69}" destId="{27581EA2-D022-49F0-8DFE-F2E741585E66}" srcOrd="0" destOrd="0" presId="urn:microsoft.com/office/officeart/2005/8/layout/orgChart1"/>
    <dgm:cxn modelId="{28B13061-8BB4-419E-B83F-2C95F7E0A5CC}" type="presParOf" srcId="{F8F118DC-5D29-4B48-B127-2D2520A38F69}" destId="{1DFF8F46-91E3-41A5-AE46-734B03F58C00}" srcOrd="1" destOrd="0" presId="urn:microsoft.com/office/officeart/2005/8/layout/orgChart1"/>
    <dgm:cxn modelId="{44C28152-0064-4902-A2AF-2B21B664C24C}" type="presParOf" srcId="{B1AF9ECA-69F6-4BAC-89F7-85280CE6785C}" destId="{66355B54-B227-4E62-891B-13B39B3781DA}" srcOrd="1" destOrd="0" presId="urn:microsoft.com/office/officeart/2005/8/layout/orgChart1"/>
    <dgm:cxn modelId="{5B33CA0C-B46D-4002-8F7B-E0F1F75753FD}" type="presParOf" srcId="{B1AF9ECA-69F6-4BAC-89F7-85280CE6785C}" destId="{0FCCB5A1-490D-45CB-8170-FC1AFCB66555}" srcOrd="2" destOrd="0" presId="urn:microsoft.com/office/officeart/2005/8/layout/orgChart1"/>
    <dgm:cxn modelId="{31F289A4-D99F-4466-80DC-7620697B140C}" type="presParOf" srcId="{74B48534-0830-4C78-8D0F-CEB92F1760D5}" destId="{018ED94A-44C2-4EE1-A693-1CE607805FA0}" srcOrd="2" destOrd="0" presId="urn:microsoft.com/office/officeart/2005/8/layout/orgChart1"/>
    <dgm:cxn modelId="{DBD0CC4F-F1F4-4020-92BE-E81087E09709}" type="presParOf" srcId="{8606E31A-87FF-4F89-A1A8-D4BFAFE6E5CF}" destId="{CF1DE82E-D3F6-45EB-9840-D791AA4DE707}" srcOrd="2" destOrd="0" presId="urn:microsoft.com/office/officeart/2005/8/layout/orgChart1"/>
    <dgm:cxn modelId="{2BD18750-22A4-4F78-B0D3-CA62A47B06E9}" type="presParOf" srcId="{46FF936B-8170-4A2A-913C-17A225348A7D}" destId="{37666F81-7E92-4D67-932F-6A797ACDBA5C}" srcOrd="2" destOrd="0" presId="urn:microsoft.com/office/officeart/2005/8/layout/orgChart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3E9BD3-BBF8-47F9-9C1B-0349D236F3D7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D0E7357C-0F89-42A3-ACC2-97DE8F12497B}">
      <dgm:prSet phldrT="[텍스트]" custT="1"/>
      <dgm:spPr>
        <a:solidFill>
          <a:schemeClr val="bg1">
            <a:lumMod val="65000"/>
          </a:schemeClr>
        </a:solidFill>
      </dgm:spPr>
      <dgm:t>
        <a:bodyPr/>
        <a:lstStyle/>
        <a:p>
          <a:pPr rtl="0"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6FD6AAE-BB93-465D-A3ED-F3202652F5DE}" type="parTrans" cxnId="{39801674-90FC-42AB-96E2-29EA19E669DC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CB72FC68-595B-4EA7-BFE7-B5DF638B56D7}" type="sibTrans" cxnId="{39801674-90FC-42AB-96E2-29EA19E669DC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D9100671-4CB5-4820-B7B4-4B271219FE40}">
      <dgm:prSet phldrT="[텍스트]"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FE4C2277-3322-4A9A-A65D-A29A82815C0B}" type="parTrans" cxnId="{2D47FD8C-6379-4E8F-AFF8-1481E2684F09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F23F7E79-4337-4D3C-B7A7-04418D03F494}" type="sibTrans" cxnId="{2D47FD8C-6379-4E8F-AFF8-1481E2684F09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01D388E7-1A65-41B1-B0F3-C1E8B9DFB691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9DD73ED-3BDB-4C52-853A-36FC0EA20AF7}" type="parTrans" cxnId="{5E3804EF-67B2-497D-A58A-2C398015D9D3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1ADB565-FA05-4214-A206-8AD5296249CC}" type="sibTrans" cxnId="{5E3804EF-67B2-497D-A58A-2C398015D9D3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0CBB08E-EF13-4941-91EA-CE35D6A9BC7C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B01CBABA-8942-409E-8096-D3A4E82429D2}" type="parTrans" cxnId="{A009B698-9B16-41F8-9BE8-D3CC7E4534C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7171398-A037-4F85-B3C0-77F965A19C2A}" type="sibTrans" cxnId="{A009B698-9B16-41F8-9BE8-D3CC7E4534CA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40FF39DC-82F8-41CA-B7B9-CC56D9A5B34B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16CFFC99-9FC8-48B6-901B-664BBBB409D2}" type="parTrans" cxnId="{1426E032-F01D-46FE-8674-C89293DC5D1E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4E9D940-0D52-4098-8436-5E2DDB56F059}" type="sibTrans" cxnId="{1426E032-F01D-46FE-8674-C89293DC5D1E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CF8B66D-8174-4BE4-B419-64DC77D94A8C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22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년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4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월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66BBE48-F423-4813-B0B4-D043CA72629D}" type="parTrans" cxnId="{E0A014D0-84C4-4158-BA98-E14FC7CBC25B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430A65F5-7990-42BD-9FA4-31BBB54D3288}" type="sibTrans" cxnId="{E0A014D0-84C4-4158-BA98-E14FC7CBC25B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D17AFCDF-A84F-42C7-9568-98E7765CC252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>
            <a:lnSpc>
              <a:spcPct val="100000"/>
            </a:lnSpc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IT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신규 및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R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구축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  <a:sym typeface="아리따-돋움(OTF)-Medium"/>
          </a:endParaRPr>
        </a:p>
        <a:p>
          <a:pPr rtl="0" latinLnBrk="1">
            <a:lnSpc>
              <a:spcPct val="100000"/>
            </a:lnSpc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85C7D48A-DFF2-4084-80F0-1CF3758EFDF3}" type="parTrans" cxnId="{0CC164DB-CFBE-492E-8603-60C20E6D9455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1551EB1F-4DBE-45B7-AC97-98C798222F40}" type="sibTrans" cxnId="{0CC164DB-CFBE-492E-8603-60C20E6D9455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F47B722-8C74-4E42-959D-B200DD9A042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정기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/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긴급배포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 또는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PP 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F93C97F4-BFB9-4CC0-9E4E-8D85C7FC5B0C}" type="parTrans" cxnId="{D662C907-0162-40AD-8466-F1C2AD9E9A76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828F8D8-B92D-4B85-882F-546C78C90802}" type="sibTrans" cxnId="{D662C907-0162-40AD-8466-F1C2AD9E9A76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50CF7D8C-7ED1-4102-8347-F71CA316740F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상시 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1161B3C3-4CC8-4D03-9228-213AB69E18C5}" type="parTrans" cxnId="{1DE6F2BC-D70B-416F-90F7-823766003BF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183EBCF5-23D5-4929-8430-8C3D8B7BD2FC}" type="sibTrans" cxnId="{1DE6F2BC-D70B-416F-90F7-823766003BFA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9B11A98-9D33-4B61-A1C4-0BD1F530C062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2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TQA</a:t>
          </a:r>
          <a:endParaRPr lang="ko-KR" altLang="en-US" sz="12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20619E98-0026-4190-8EED-D055608813CA}" type="parTrans" cxnId="{5C668A27-0896-43EC-9B7C-56D91B3B41F1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E8B20800-3E57-47DA-A3C1-8C60357C4E1C}" type="sibTrans" cxnId="{5C668A27-0896-43EC-9B7C-56D91B3B41F1}">
      <dgm:prSet/>
      <dgm:spPr/>
      <dgm:t>
        <a:bodyPr/>
        <a:lstStyle/>
        <a:p>
          <a:pPr latinLnBrk="1"/>
          <a:endParaRPr lang="ko-KR" altLang="en-US" sz="11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0D3039E0-1F69-4B7D-8F76-2E7447C24984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정기배포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3CC58F7F-98F9-4AED-BB13-A65BDD0646EB}" type="parTrans" cxnId="{5554ECEB-5513-4B23-87A6-C9DF9711686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D7888A5-B01E-43C6-AB9D-1957986F30DA}" type="sibTrans" cxnId="{5554ECEB-5513-4B23-87A6-C9DF9711686A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C31E7C3-114E-4286-84A2-A110F22834EB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rchive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F44C7AA9-9F5F-48E8-AEE9-3E681611FE7C}" type="parTrans" cxnId="{3464B9FA-FA54-4B66-959A-7509EEA24490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C356CC7-8B81-417D-A9D2-F9B28D77A969}" type="sibTrans" cxnId="{3464B9FA-FA54-4B66-959A-7509EEA24490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5DC873E-897D-433D-9120-E4E8252E3464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0D74438D-83A6-4DFC-B066-5D2EF9276D91}" type="parTrans" cxnId="{48F16EB4-DADF-4EEC-9088-BA9CB3229E92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8CFBC1B8-A400-4DE1-87B4-C8F41478FFA2}" type="sibTrans" cxnId="{48F16EB4-DADF-4EEC-9088-BA9CB3229E92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39184ACB-53D6-445A-AD12-8D8BCB1587C1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9C7F346A-437B-4622-B2CB-A62EDC53B5B1}" type="parTrans" cxnId="{DD691126-6990-4B92-ACD1-0CC7B2D7028A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4F6FEC0-E786-497E-BD1C-385894A5C863}" type="sibTrans" cxnId="{DD691126-6990-4B92-ACD1-0CC7B2D7028A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E35C69FE-8821-4D81-88AA-42C379C36929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latinLnBrk="1"/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CDF14963-0031-4A51-A5C3-5FFAF5A82E9F}" type="parTrans" cxnId="{DA5C012F-038F-4CA0-8FB8-C740E7C9DA0F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6B53EF74-0FEA-4CCA-8688-8CC2824417A4}" type="sibTrans" cxnId="{DA5C012F-038F-4CA0-8FB8-C740E7C9DA0F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27809B1E-ACB5-4EC5-8764-214E4EEC1B00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latinLnBrk="1">
            <a:lnSpc>
              <a:spcPct val="100000"/>
            </a:lnSpc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미사용 테스트케이스 또는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  <a:p>
          <a:pPr latinLnBrk="1">
            <a:lnSpc>
              <a:spcPct val="100000"/>
            </a:lnSpc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종료된 프로젝트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DB071331-65AC-4F4B-88A1-73AB9E168912}" type="parTrans" cxnId="{2DDDE7FB-8642-443A-8FCC-8E852824C141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E13D3EDC-40B0-463F-B6CC-18DD77830A21}" type="sibTrans" cxnId="{2DDDE7FB-8642-443A-8FCC-8E852824C141}">
      <dgm:prSet/>
      <dgm:spPr/>
      <dgm:t>
        <a:bodyPr/>
        <a:lstStyle/>
        <a:p>
          <a:pPr latinLnBrk="1"/>
          <a:endParaRPr lang="ko-KR" altLang="en-US" sz="1600">
            <a:latin typeface="아리따-돋움(TTF)-Medium" panose="02020603020101020101" pitchFamily="18" charset="-127"/>
            <a:ea typeface="아리따-돋움(TTF)-Medium" panose="02020603020101020101" pitchFamily="18" charset="-127"/>
          </a:endParaRPr>
        </a:p>
      </dgm:t>
    </dgm:pt>
    <dgm:pt modelId="{CB15E05C-0E18-4AB1-BB33-914C850A6CE6}">
      <dgm:prSet custT="1"/>
      <dgm:spPr>
        <a:solidFill>
          <a:schemeClr val="bg1">
            <a:lumMod val="65000"/>
          </a:schemeClr>
        </a:solidFill>
        <a:ln>
          <a:noFill/>
        </a:ln>
      </dgm:spPr>
      <dgm:t>
        <a:bodyPr/>
        <a:lstStyle/>
        <a:p>
          <a:pPr latinLnBrk="1"/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1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주차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gm:t>
    </dgm:pt>
    <dgm:pt modelId="{320C96B2-801F-4066-9C4B-3F3600F18F11}" type="parTrans" cxnId="{96ECD48B-ACD8-4554-A6FE-B12863723220}">
      <dgm:prSet/>
      <dgm:spPr>
        <a:ln>
          <a:solidFill>
            <a:schemeClr val="tx1">
              <a:lumMod val="50000"/>
              <a:lumOff val="50000"/>
            </a:schemeClr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ABF9391D-E97C-46BF-8DAA-645AF691B5FF}" type="sibTrans" cxnId="{96ECD48B-ACD8-4554-A6FE-B12863723220}">
      <dgm:prSet/>
      <dgm:spPr/>
      <dgm:t>
        <a:bodyPr/>
        <a:lstStyle/>
        <a:p>
          <a:pPr latinLnBrk="1"/>
          <a:endParaRPr lang="ko-KR" altLang="en-US"/>
        </a:p>
      </dgm:t>
    </dgm:pt>
    <dgm:pt modelId="{398E9BCF-C768-462A-9BB8-E58EF94C9791}" type="pres">
      <dgm:prSet presAssocID="{AF3E9BD3-BBF8-47F9-9C1B-0349D236F3D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6FF936B-8170-4A2A-913C-17A225348A7D}" type="pres">
      <dgm:prSet presAssocID="{29B11A98-9D33-4B61-A1C4-0BD1F530C062}" presName="hierRoot1" presStyleCnt="0">
        <dgm:presLayoutVars>
          <dgm:hierBranch val="init"/>
        </dgm:presLayoutVars>
      </dgm:prSet>
      <dgm:spPr/>
    </dgm:pt>
    <dgm:pt modelId="{DA9A4186-AF46-462D-AE70-284078B8564B}" type="pres">
      <dgm:prSet presAssocID="{29B11A98-9D33-4B61-A1C4-0BD1F530C062}" presName="rootComposite1" presStyleCnt="0"/>
      <dgm:spPr/>
    </dgm:pt>
    <dgm:pt modelId="{5197FF8D-FC58-4291-A413-97D4B3FFC8DA}" type="pres">
      <dgm:prSet presAssocID="{29B11A98-9D33-4B61-A1C4-0BD1F530C062}" presName="rootText1" presStyleLbl="node0" presStyleIdx="0" presStyleCnt="1" custScaleX="134066" custScaleY="72339" custLinFactNeighborY="-1621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70D5FEC-0549-4E44-BEF7-3C055DD5E0EB}" type="pres">
      <dgm:prSet presAssocID="{29B11A98-9D33-4B61-A1C4-0BD1F530C062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0BF78FBB-D317-446E-9AD3-DB8B8F00D801}" type="pres">
      <dgm:prSet presAssocID="{29B11A98-9D33-4B61-A1C4-0BD1F530C062}" presName="hierChild2" presStyleCnt="0"/>
      <dgm:spPr/>
    </dgm:pt>
    <dgm:pt modelId="{7BC8F406-0DC9-45A7-B698-8C9D764F5402}" type="pres">
      <dgm:prSet presAssocID="{85C7D48A-DFF2-4084-80F0-1CF3758EFDF3}" presName="Name37" presStyleLbl="parChTrans1D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78526B1E-FFBC-43D5-ACAB-EF8344C937F6}" type="pres">
      <dgm:prSet presAssocID="{D17AFCDF-A84F-42C7-9568-98E7765CC252}" presName="hierRoot2" presStyleCnt="0">
        <dgm:presLayoutVars>
          <dgm:hierBranch val="init"/>
        </dgm:presLayoutVars>
      </dgm:prSet>
      <dgm:spPr/>
    </dgm:pt>
    <dgm:pt modelId="{2A128AAE-DE8B-4E5D-AB0C-7841B607A826}" type="pres">
      <dgm:prSet presAssocID="{D17AFCDF-A84F-42C7-9568-98E7765CC252}" presName="rootComposite" presStyleCnt="0"/>
      <dgm:spPr/>
    </dgm:pt>
    <dgm:pt modelId="{5AEC8923-A78B-4727-9ED7-DE90C1D72093}" type="pres">
      <dgm:prSet presAssocID="{D17AFCDF-A84F-42C7-9568-98E7765CC252}" presName="rootText" presStyleLbl="node2" presStyleIdx="0" presStyleCnt="4" custScaleX="126830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AAD8B09-C8BE-4781-80CB-CD68113FA53E}" type="pres">
      <dgm:prSet presAssocID="{D17AFCDF-A84F-42C7-9568-98E7765CC252}" presName="rootConnector" presStyleLbl="node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C90D97AC-CE11-49EE-AAEC-588FFD175229}" type="pres">
      <dgm:prSet presAssocID="{D17AFCDF-A84F-42C7-9568-98E7765CC252}" presName="hierChild4" presStyleCnt="0"/>
      <dgm:spPr/>
    </dgm:pt>
    <dgm:pt modelId="{32A11FE5-1E99-4AA1-95A6-D2087475E7BF}" type="pres">
      <dgm:prSet presAssocID="{26FD6AAE-BB93-465D-A3ED-F3202652F5DE}" presName="Name37" presStyleLbl="parChTrans1D3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26F1DFD7-6176-45F3-8276-11ADA6DCB685}" type="pres">
      <dgm:prSet presAssocID="{D0E7357C-0F89-42A3-ACC2-97DE8F12497B}" presName="hierRoot2" presStyleCnt="0">
        <dgm:presLayoutVars>
          <dgm:hierBranch val="init"/>
        </dgm:presLayoutVars>
      </dgm:prSet>
      <dgm:spPr/>
    </dgm:pt>
    <dgm:pt modelId="{53453E6A-98E0-4161-91AD-E61F8BA68171}" type="pres">
      <dgm:prSet presAssocID="{D0E7357C-0F89-42A3-ACC2-97DE8F12497B}" presName="rootComposite" presStyleCnt="0"/>
      <dgm:spPr/>
    </dgm:pt>
    <dgm:pt modelId="{06706562-2085-4C5D-9F32-D879389E4EC6}" type="pres">
      <dgm:prSet presAssocID="{D0E7357C-0F89-42A3-ACC2-97DE8F12497B}" presName="rootText" presStyleLbl="node3" presStyleIdx="0" presStyleCnt="4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8054045-13C6-4793-90B2-93AE757394FE}" type="pres">
      <dgm:prSet presAssocID="{D0E7357C-0F89-42A3-ACC2-97DE8F12497B}" presName="rootConnector" presStyleLbl="node3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971B6693-7855-404E-BAE7-F8CD561D6D63}" type="pres">
      <dgm:prSet presAssocID="{D0E7357C-0F89-42A3-ACC2-97DE8F12497B}" presName="hierChild4" presStyleCnt="0"/>
      <dgm:spPr/>
    </dgm:pt>
    <dgm:pt modelId="{698508D6-C93E-4E49-A7B9-B4DA6FBDF86C}" type="pres">
      <dgm:prSet presAssocID="{FE4C2277-3322-4A9A-A65D-A29A82815C0B}" presName="Name37" presStyleLbl="parChTrans1D4" presStyleIdx="0" presStyleCnt="8"/>
      <dgm:spPr/>
      <dgm:t>
        <a:bodyPr/>
        <a:lstStyle/>
        <a:p>
          <a:pPr latinLnBrk="1"/>
          <a:endParaRPr lang="ko-KR" altLang="en-US"/>
        </a:p>
      </dgm:t>
    </dgm:pt>
    <dgm:pt modelId="{B15BDACE-8935-4836-A28A-52D1BEBC4661}" type="pres">
      <dgm:prSet presAssocID="{D9100671-4CB5-4820-B7B4-4B271219FE40}" presName="hierRoot2" presStyleCnt="0">
        <dgm:presLayoutVars>
          <dgm:hierBranch val="init"/>
        </dgm:presLayoutVars>
      </dgm:prSet>
      <dgm:spPr/>
    </dgm:pt>
    <dgm:pt modelId="{0936F836-F7D1-4462-A72D-0A876A9DCC62}" type="pres">
      <dgm:prSet presAssocID="{D9100671-4CB5-4820-B7B4-4B271219FE40}" presName="rootComposite" presStyleCnt="0"/>
      <dgm:spPr/>
    </dgm:pt>
    <dgm:pt modelId="{366FD547-57D6-420F-8969-85C85847F670}" type="pres">
      <dgm:prSet presAssocID="{D9100671-4CB5-4820-B7B4-4B271219FE40}" presName="rootText" presStyleLbl="node4" presStyleIdx="0" presStyleCnt="8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B94A250-EE4C-4630-9677-2500B1056E16}" type="pres">
      <dgm:prSet presAssocID="{D9100671-4CB5-4820-B7B4-4B271219FE40}" presName="rootConnector" presStyleLbl="node4" presStyleIdx="0" presStyleCnt="8"/>
      <dgm:spPr/>
      <dgm:t>
        <a:bodyPr/>
        <a:lstStyle/>
        <a:p>
          <a:pPr latinLnBrk="1"/>
          <a:endParaRPr lang="ko-KR" altLang="en-US"/>
        </a:p>
      </dgm:t>
    </dgm:pt>
    <dgm:pt modelId="{BC0E8686-C84C-4FAD-A7B0-739E912D23F8}" type="pres">
      <dgm:prSet presAssocID="{D9100671-4CB5-4820-B7B4-4B271219FE40}" presName="hierChild4" presStyleCnt="0"/>
      <dgm:spPr/>
    </dgm:pt>
    <dgm:pt modelId="{6FA85FFE-0E29-4D3A-8559-9333DFFC306A}" type="pres">
      <dgm:prSet presAssocID="{D9100671-4CB5-4820-B7B4-4B271219FE40}" presName="hierChild5" presStyleCnt="0"/>
      <dgm:spPr/>
    </dgm:pt>
    <dgm:pt modelId="{290416AC-1979-4604-9930-F25DD712C390}" type="pres">
      <dgm:prSet presAssocID="{D0E7357C-0F89-42A3-ACC2-97DE8F12497B}" presName="hierChild5" presStyleCnt="0"/>
      <dgm:spPr/>
    </dgm:pt>
    <dgm:pt modelId="{CD5488BC-8F6C-4A2E-9431-200F8E798A8F}" type="pres">
      <dgm:prSet presAssocID="{D17AFCDF-A84F-42C7-9568-98E7765CC252}" presName="hierChild5" presStyleCnt="0"/>
      <dgm:spPr/>
    </dgm:pt>
    <dgm:pt modelId="{E3F6FB8C-F2C7-4BA2-AA1B-64E02C01B378}" type="pres">
      <dgm:prSet presAssocID="{F93C97F4-BFB9-4CC0-9E4E-8D85C7FC5B0C}" presName="Name37" presStyleLbl="parChTrans1D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2CDBDA91-9AC1-4682-8296-1038470C176C}" type="pres">
      <dgm:prSet presAssocID="{8F47B722-8C74-4E42-959D-B200DD9A0423}" presName="hierRoot2" presStyleCnt="0">
        <dgm:presLayoutVars>
          <dgm:hierBranch val="init"/>
        </dgm:presLayoutVars>
      </dgm:prSet>
      <dgm:spPr/>
    </dgm:pt>
    <dgm:pt modelId="{1B3E4DFD-B199-410F-8F3C-2FD61C72253D}" type="pres">
      <dgm:prSet presAssocID="{8F47B722-8C74-4E42-959D-B200DD9A0423}" presName="rootComposite" presStyleCnt="0"/>
      <dgm:spPr/>
    </dgm:pt>
    <dgm:pt modelId="{8A7301E4-6839-4A0B-BBD5-6C11DD40797D}" type="pres">
      <dgm:prSet presAssocID="{8F47B722-8C74-4E42-959D-B200DD9A0423}" presName="rootText" presStyleLbl="node2" presStyleIdx="1" presStyleCnt="4" custScaleX="126830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F0CBA67-A219-4313-B4DC-C4682C06DE52}" type="pres">
      <dgm:prSet presAssocID="{8F47B722-8C74-4E42-959D-B200DD9A0423}" presName="rootConnector" presStyleLbl="node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4AA8A3AB-1233-4958-8CFE-0A4B7E231FF3}" type="pres">
      <dgm:prSet presAssocID="{8F47B722-8C74-4E42-959D-B200DD9A0423}" presName="hierChild4" presStyleCnt="0"/>
      <dgm:spPr/>
    </dgm:pt>
    <dgm:pt modelId="{6DF3FE2B-F1DA-4413-8913-2B9E5EE9BE1A}" type="pres">
      <dgm:prSet presAssocID="{29DD73ED-3BDB-4C52-853A-36FC0EA20AF7}" presName="Name37" presStyleLbl="parChTrans1D3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54B3288E-B666-4374-923C-D90F5AEE32CD}" type="pres">
      <dgm:prSet presAssocID="{01D388E7-1A65-41B1-B0F3-C1E8B9DFB691}" presName="hierRoot2" presStyleCnt="0">
        <dgm:presLayoutVars>
          <dgm:hierBranch val="init"/>
        </dgm:presLayoutVars>
      </dgm:prSet>
      <dgm:spPr/>
    </dgm:pt>
    <dgm:pt modelId="{D06B4687-D0A7-4E1D-AC27-97BC1EDCED1C}" type="pres">
      <dgm:prSet presAssocID="{01D388E7-1A65-41B1-B0F3-C1E8B9DFB691}" presName="rootComposite" presStyleCnt="0"/>
      <dgm:spPr/>
    </dgm:pt>
    <dgm:pt modelId="{14C0F6B3-7708-4CAD-B8EC-E9A689648763}" type="pres">
      <dgm:prSet presAssocID="{01D388E7-1A65-41B1-B0F3-C1E8B9DFB691}" presName="rootText" presStyleLbl="node3" presStyleIdx="1" presStyleCnt="4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3F6EC11-8BB0-4EB2-9B75-2CB751E9AFFE}" type="pres">
      <dgm:prSet presAssocID="{01D388E7-1A65-41B1-B0F3-C1E8B9DFB691}" presName="rootConnector" presStyleLbl="node3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8DAC05B8-3347-401A-AC34-1F37CAA9A202}" type="pres">
      <dgm:prSet presAssocID="{01D388E7-1A65-41B1-B0F3-C1E8B9DFB691}" presName="hierChild4" presStyleCnt="0"/>
      <dgm:spPr/>
    </dgm:pt>
    <dgm:pt modelId="{25490263-AA39-456D-B8BE-13FAC661C19E}" type="pres">
      <dgm:prSet presAssocID="{16CFFC99-9FC8-48B6-901B-664BBBB409D2}" presName="Name37" presStyleLbl="parChTrans1D4" presStyleIdx="1" presStyleCnt="8"/>
      <dgm:spPr/>
      <dgm:t>
        <a:bodyPr/>
        <a:lstStyle/>
        <a:p>
          <a:pPr latinLnBrk="1"/>
          <a:endParaRPr lang="ko-KR" altLang="en-US"/>
        </a:p>
      </dgm:t>
    </dgm:pt>
    <dgm:pt modelId="{A7623238-7A87-444A-BECE-36F25C02AB04}" type="pres">
      <dgm:prSet presAssocID="{40FF39DC-82F8-41CA-B7B9-CC56D9A5B34B}" presName="hierRoot2" presStyleCnt="0">
        <dgm:presLayoutVars>
          <dgm:hierBranch val="init"/>
        </dgm:presLayoutVars>
      </dgm:prSet>
      <dgm:spPr/>
    </dgm:pt>
    <dgm:pt modelId="{F128C1E1-4636-499A-8DDA-C929293BCC95}" type="pres">
      <dgm:prSet presAssocID="{40FF39DC-82F8-41CA-B7B9-CC56D9A5B34B}" presName="rootComposite" presStyleCnt="0"/>
      <dgm:spPr/>
    </dgm:pt>
    <dgm:pt modelId="{09CA3129-8B94-4B14-958F-A7CA4D18A9B9}" type="pres">
      <dgm:prSet presAssocID="{40FF39DC-82F8-41CA-B7B9-CC56D9A5B34B}" presName="rootText" presStyleLbl="node4" presStyleIdx="1" presStyleCnt="8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135482C-7C3E-4A3A-AB63-C361DE474E45}" type="pres">
      <dgm:prSet presAssocID="{40FF39DC-82F8-41CA-B7B9-CC56D9A5B34B}" presName="rootConnector" presStyleLbl="node4" presStyleIdx="1" presStyleCnt="8"/>
      <dgm:spPr/>
      <dgm:t>
        <a:bodyPr/>
        <a:lstStyle/>
        <a:p>
          <a:pPr latinLnBrk="1"/>
          <a:endParaRPr lang="ko-KR" altLang="en-US"/>
        </a:p>
      </dgm:t>
    </dgm:pt>
    <dgm:pt modelId="{CF744B91-7569-4802-944A-D4867A059610}" type="pres">
      <dgm:prSet presAssocID="{40FF39DC-82F8-41CA-B7B9-CC56D9A5B34B}" presName="hierChild4" presStyleCnt="0"/>
      <dgm:spPr/>
    </dgm:pt>
    <dgm:pt modelId="{7A2DCF16-4793-4F62-8615-1A86A0383840}" type="pres">
      <dgm:prSet presAssocID="{3CC58F7F-98F9-4AED-BB13-A65BDD0646EB}" presName="Name37" presStyleLbl="parChTrans1D4" presStyleIdx="2" presStyleCnt="8"/>
      <dgm:spPr/>
      <dgm:t>
        <a:bodyPr/>
        <a:lstStyle/>
        <a:p>
          <a:pPr latinLnBrk="1"/>
          <a:endParaRPr lang="ko-KR" altLang="en-US"/>
        </a:p>
      </dgm:t>
    </dgm:pt>
    <dgm:pt modelId="{E4FCECBF-E460-48FA-A15E-DCF2DC70EEBD}" type="pres">
      <dgm:prSet presAssocID="{0D3039E0-1F69-4B7D-8F76-2E7447C24984}" presName="hierRoot2" presStyleCnt="0">
        <dgm:presLayoutVars>
          <dgm:hierBranch val="init"/>
        </dgm:presLayoutVars>
      </dgm:prSet>
      <dgm:spPr/>
    </dgm:pt>
    <dgm:pt modelId="{1C00396D-C161-4B99-9732-5D9ED84D37CB}" type="pres">
      <dgm:prSet presAssocID="{0D3039E0-1F69-4B7D-8F76-2E7447C24984}" presName="rootComposite" presStyleCnt="0"/>
      <dgm:spPr/>
    </dgm:pt>
    <dgm:pt modelId="{1B6B3A2C-2B86-46D8-8C2F-D122B2AA83BF}" type="pres">
      <dgm:prSet presAssocID="{0D3039E0-1F69-4B7D-8F76-2E7447C24984}" presName="rootText" presStyleLbl="node4" presStyleIdx="2" presStyleCnt="8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3DFBC13-575B-44C5-9411-8C49A89188ED}" type="pres">
      <dgm:prSet presAssocID="{0D3039E0-1F69-4B7D-8F76-2E7447C24984}" presName="rootConnector" presStyleLbl="node4" presStyleIdx="2" presStyleCnt="8"/>
      <dgm:spPr/>
      <dgm:t>
        <a:bodyPr/>
        <a:lstStyle/>
        <a:p>
          <a:pPr latinLnBrk="1"/>
          <a:endParaRPr lang="ko-KR" altLang="en-US"/>
        </a:p>
      </dgm:t>
    </dgm:pt>
    <dgm:pt modelId="{E40509C5-A16B-48FF-B1F2-E683DC65CAEC}" type="pres">
      <dgm:prSet presAssocID="{0D3039E0-1F69-4B7D-8F76-2E7447C24984}" presName="hierChild4" presStyleCnt="0"/>
      <dgm:spPr/>
    </dgm:pt>
    <dgm:pt modelId="{F075DDE6-0972-41D9-B707-D8687CA19B0A}" type="pres">
      <dgm:prSet presAssocID="{0D3039E0-1F69-4B7D-8F76-2E7447C24984}" presName="hierChild5" presStyleCnt="0"/>
      <dgm:spPr/>
    </dgm:pt>
    <dgm:pt modelId="{EEB5EBBD-A7A9-4BB5-A632-DFF511FD3D0A}" type="pres">
      <dgm:prSet presAssocID="{40FF39DC-82F8-41CA-B7B9-CC56D9A5B34B}" presName="hierChild5" presStyleCnt="0"/>
      <dgm:spPr/>
    </dgm:pt>
    <dgm:pt modelId="{0DBA6529-6650-4132-ACCC-7D7D69DC460D}" type="pres">
      <dgm:prSet presAssocID="{01D388E7-1A65-41B1-B0F3-C1E8B9DFB691}" presName="hierChild5" presStyleCnt="0"/>
      <dgm:spPr/>
    </dgm:pt>
    <dgm:pt modelId="{9E88C892-72D1-478E-AEF5-D0D8B808C5FF}" type="pres">
      <dgm:prSet presAssocID="{8F47B722-8C74-4E42-959D-B200DD9A0423}" presName="hierChild5" presStyleCnt="0"/>
      <dgm:spPr/>
    </dgm:pt>
    <dgm:pt modelId="{E68009D5-0F24-495C-B17E-71B0D4EE1A02}" type="pres">
      <dgm:prSet presAssocID="{1161B3C3-4CC8-4D03-9228-213AB69E18C5}" presName="Name37" presStyleLbl="parChTrans1D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7DA6822D-491A-44ED-B51B-1166D53CAABE}" type="pres">
      <dgm:prSet presAssocID="{50CF7D8C-7ED1-4102-8347-F71CA316740F}" presName="hierRoot2" presStyleCnt="0">
        <dgm:presLayoutVars>
          <dgm:hierBranch val="init"/>
        </dgm:presLayoutVars>
      </dgm:prSet>
      <dgm:spPr/>
    </dgm:pt>
    <dgm:pt modelId="{9CEF4D66-75FA-4B91-BFA0-248F2700F391}" type="pres">
      <dgm:prSet presAssocID="{50CF7D8C-7ED1-4102-8347-F71CA316740F}" presName="rootComposite" presStyleCnt="0"/>
      <dgm:spPr/>
    </dgm:pt>
    <dgm:pt modelId="{7E3A5B43-1594-4AEF-A8C9-9DDF3845EB77}" type="pres">
      <dgm:prSet presAssocID="{50CF7D8C-7ED1-4102-8347-F71CA316740F}" presName="rootText" presStyleLbl="node2" presStyleIdx="2" presStyleCnt="4" custScaleX="126830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814F93A-BA38-4945-8DB7-3A338E9C09C0}" type="pres">
      <dgm:prSet presAssocID="{50CF7D8C-7ED1-4102-8347-F71CA316740F}" presName="rootConnector" presStyleLbl="node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3824A08B-6BDF-4345-AF53-B824C1AADBA0}" type="pres">
      <dgm:prSet presAssocID="{50CF7D8C-7ED1-4102-8347-F71CA316740F}" presName="hierChild4" presStyleCnt="0"/>
      <dgm:spPr/>
    </dgm:pt>
    <dgm:pt modelId="{DFCF65C2-1D4E-4203-8483-263873D3B705}" type="pres">
      <dgm:prSet presAssocID="{B01CBABA-8942-409E-8096-D3A4E82429D2}" presName="Name37" presStyleLbl="parChTrans1D3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A5DC6E14-2DD8-4A4D-9B0E-11E200E26A73}" type="pres">
      <dgm:prSet presAssocID="{60CBB08E-EF13-4941-91EA-CE35D6A9BC7C}" presName="hierRoot2" presStyleCnt="0">
        <dgm:presLayoutVars>
          <dgm:hierBranch val="init"/>
        </dgm:presLayoutVars>
      </dgm:prSet>
      <dgm:spPr/>
    </dgm:pt>
    <dgm:pt modelId="{92B72518-CFA3-4035-9BF7-97ECA93F9B62}" type="pres">
      <dgm:prSet presAssocID="{60CBB08E-EF13-4941-91EA-CE35D6A9BC7C}" presName="rootComposite" presStyleCnt="0"/>
      <dgm:spPr/>
    </dgm:pt>
    <dgm:pt modelId="{65C0A499-92EB-45F2-949A-1B73F4D033F2}" type="pres">
      <dgm:prSet presAssocID="{60CBB08E-EF13-4941-91EA-CE35D6A9BC7C}" presName="rootText" presStyleLbl="node3" presStyleIdx="2" presStyleCnt="4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8E166B0-531E-43B7-8A97-C6036663D8E6}" type="pres">
      <dgm:prSet presAssocID="{60CBB08E-EF13-4941-91EA-CE35D6A9BC7C}" presName="rootConnector" presStyleLbl="node3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4B08A774-F3F2-47E7-B366-6D92574A5B17}" type="pres">
      <dgm:prSet presAssocID="{60CBB08E-EF13-4941-91EA-CE35D6A9BC7C}" presName="hierChild4" presStyleCnt="0"/>
      <dgm:spPr/>
    </dgm:pt>
    <dgm:pt modelId="{4BA0D1F8-7A76-45FB-9F8B-A143F3689240}" type="pres">
      <dgm:prSet presAssocID="{266BBE48-F423-4813-B0B4-D043CA72629D}" presName="Name37" presStyleLbl="parChTrans1D4" presStyleIdx="3" presStyleCnt="8"/>
      <dgm:spPr/>
      <dgm:t>
        <a:bodyPr/>
        <a:lstStyle/>
        <a:p>
          <a:pPr latinLnBrk="1"/>
          <a:endParaRPr lang="ko-KR" altLang="en-US"/>
        </a:p>
      </dgm:t>
    </dgm:pt>
    <dgm:pt modelId="{12AEE908-2F1F-4FE8-84C2-1496551E89D4}" type="pres">
      <dgm:prSet presAssocID="{2CF8B66D-8174-4BE4-B419-64DC77D94A8C}" presName="hierRoot2" presStyleCnt="0">
        <dgm:presLayoutVars>
          <dgm:hierBranch val="init"/>
        </dgm:presLayoutVars>
      </dgm:prSet>
      <dgm:spPr/>
    </dgm:pt>
    <dgm:pt modelId="{2AF134DD-D125-43F2-BD07-897080FFDF25}" type="pres">
      <dgm:prSet presAssocID="{2CF8B66D-8174-4BE4-B419-64DC77D94A8C}" presName="rootComposite" presStyleCnt="0"/>
      <dgm:spPr/>
    </dgm:pt>
    <dgm:pt modelId="{C991FD64-A9E4-4E4E-9AC8-B5BEFA41DAF1}" type="pres">
      <dgm:prSet presAssocID="{2CF8B66D-8174-4BE4-B419-64DC77D94A8C}" presName="rootText" presStyleLbl="node4" presStyleIdx="3" presStyleCnt="8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BAD4223-2F15-4A1F-8B72-E4CEE4217AF4}" type="pres">
      <dgm:prSet presAssocID="{2CF8B66D-8174-4BE4-B419-64DC77D94A8C}" presName="rootConnector" presStyleLbl="node4" presStyleIdx="3" presStyleCnt="8"/>
      <dgm:spPr/>
      <dgm:t>
        <a:bodyPr/>
        <a:lstStyle/>
        <a:p>
          <a:pPr latinLnBrk="1"/>
          <a:endParaRPr lang="ko-KR" altLang="en-US"/>
        </a:p>
      </dgm:t>
    </dgm:pt>
    <dgm:pt modelId="{C5A3C17C-C0D3-4D9C-B316-2F4236677811}" type="pres">
      <dgm:prSet presAssocID="{2CF8B66D-8174-4BE4-B419-64DC77D94A8C}" presName="hierChild4" presStyleCnt="0"/>
      <dgm:spPr/>
    </dgm:pt>
    <dgm:pt modelId="{A7AD82A4-DE85-49DA-9FB3-F67B7B8D78A5}" type="pres">
      <dgm:prSet presAssocID="{320C96B2-801F-4066-9C4B-3F3600F18F11}" presName="Name37" presStyleLbl="parChTrans1D4" presStyleIdx="4" presStyleCnt="8"/>
      <dgm:spPr/>
      <dgm:t>
        <a:bodyPr/>
        <a:lstStyle/>
        <a:p>
          <a:pPr latinLnBrk="1"/>
          <a:endParaRPr lang="ko-KR" altLang="en-US"/>
        </a:p>
      </dgm:t>
    </dgm:pt>
    <dgm:pt modelId="{779B2294-B781-4D5B-B330-79D0474C7B61}" type="pres">
      <dgm:prSet presAssocID="{CB15E05C-0E18-4AB1-BB33-914C850A6CE6}" presName="hierRoot2" presStyleCnt="0">
        <dgm:presLayoutVars>
          <dgm:hierBranch val="init"/>
        </dgm:presLayoutVars>
      </dgm:prSet>
      <dgm:spPr/>
    </dgm:pt>
    <dgm:pt modelId="{A0328596-337B-4BE9-B736-7ACA1C28382F}" type="pres">
      <dgm:prSet presAssocID="{CB15E05C-0E18-4AB1-BB33-914C850A6CE6}" presName="rootComposite" presStyleCnt="0"/>
      <dgm:spPr/>
    </dgm:pt>
    <dgm:pt modelId="{4114D1DD-1AAF-41F7-A7F7-918767AF0406}" type="pres">
      <dgm:prSet presAssocID="{CB15E05C-0E18-4AB1-BB33-914C850A6CE6}" presName="rootText" presStyleLbl="node4" presStyleIdx="4" presStyleCnt="8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7E7EFC2-7741-4D36-8855-CCF2FE2CB825}" type="pres">
      <dgm:prSet presAssocID="{CB15E05C-0E18-4AB1-BB33-914C850A6CE6}" presName="rootConnector" presStyleLbl="node4" presStyleIdx="4" presStyleCnt="8"/>
      <dgm:spPr/>
      <dgm:t>
        <a:bodyPr/>
        <a:lstStyle/>
        <a:p>
          <a:pPr latinLnBrk="1"/>
          <a:endParaRPr lang="ko-KR" altLang="en-US"/>
        </a:p>
      </dgm:t>
    </dgm:pt>
    <dgm:pt modelId="{1C2021DE-003B-4122-95EF-CCCE5415F5ED}" type="pres">
      <dgm:prSet presAssocID="{CB15E05C-0E18-4AB1-BB33-914C850A6CE6}" presName="hierChild4" presStyleCnt="0"/>
      <dgm:spPr/>
    </dgm:pt>
    <dgm:pt modelId="{089A053B-8226-40C2-BD9B-F27A5947ACD4}" type="pres">
      <dgm:prSet presAssocID="{CB15E05C-0E18-4AB1-BB33-914C850A6CE6}" presName="hierChild5" presStyleCnt="0"/>
      <dgm:spPr/>
    </dgm:pt>
    <dgm:pt modelId="{C3F37AC0-70D0-4F54-A65E-747CB71F0DAB}" type="pres">
      <dgm:prSet presAssocID="{2CF8B66D-8174-4BE4-B419-64DC77D94A8C}" presName="hierChild5" presStyleCnt="0"/>
      <dgm:spPr/>
    </dgm:pt>
    <dgm:pt modelId="{B3300620-D487-4901-A86B-5783BDDC333F}" type="pres">
      <dgm:prSet presAssocID="{60CBB08E-EF13-4941-91EA-CE35D6A9BC7C}" presName="hierChild5" presStyleCnt="0"/>
      <dgm:spPr/>
    </dgm:pt>
    <dgm:pt modelId="{574C65FD-5127-4961-9183-6E86A88ECCD2}" type="pres">
      <dgm:prSet presAssocID="{50CF7D8C-7ED1-4102-8347-F71CA316740F}" presName="hierChild5" presStyleCnt="0"/>
      <dgm:spPr/>
    </dgm:pt>
    <dgm:pt modelId="{7A7136E1-CBCF-4CD9-86AB-8BC82BD8452F}" type="pres">
      <dgm:prSet presAssocID="{DB071331-65AC-4F4B-88A1-73AB9E168912}" presName="Name37" presStyleLbl="parChTrans1D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8606E31A-87FF-4F89-A1A8-D4BFAFE6E5CF}" type="pres">
      <dgm:prSet presAssocID="{27809B1E-ACB5-4EC5-8764-214E4EEC1B00}" presName="hierRoot2" presStyleCnt="0">
        <dgm:presLayoutVars>
          <dgm:hierBranch val="init"/>
        </dgm:presLayoutVars>
      </dgm:prSet>
      <dgm:spPr/>
    </dgm:pt>
    <dgm:pt modelId="{39A21E7D-5FD2-4C1B-AC1E-B463EE3413BD}" type="pres">
      <dgm:prSet presAssocID="{27809B1E-ACB5-4EC5-8764-214E4EEC1B00}" presName="rootComposite" presStyleCnt="0"/>
      <dgm:spPr/>
    </dgm:pt>
    <dgm:pt modelId="{F64A5C08-9C7D-4E71-AB14-8CF1F43E6643}" type="pres">
      <dgm:prSet presAssocID="{27809B1E-ACB5-4EC5-8764-214E4EEC1B00}" presName="rootText" presStyleLbl="node2" presStyleIdx="3" presStyleCnt="4" custScaleX="127012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6DBE938-79ED-4BB6-B601-50EF87574107}" type="pres">
      <dgm:prSet presAssocID="{27809B1E-ACB5-4EC5-8764-214E4EEC1B00}" presName="rootConnector" presStyleLbl="node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C7C486AB-F20B-4403-937C-53D534A14EF0}" type="pres">
      <dgm:prSet presAssocID="{27809B1E-ACB5-4EC5-8764-214E4EEC1B00}" presName="hierChild4" presStyleCnt="0"/>
      <dgm:spPr/>
    </dgm:pt>
    <dgm:pt modelId="{1DDDFFC9-E5A8-4087-9E95-1FB681DF4CC5}" type="pres">
      <dgm:prSet presAssocID="{F44C7AA9-9F5F-48E8-AEE9-3E681611FE7C}" presName="Name37" presStyleLbl="parChTrans1D3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74B48534-0830-4C78-8D0F-CEB92F1760D5}" type="pres">
      <dgm:prSet presAssocID="{2C31E7C3-114E-4286-84A2-A110F22834EB}" presName="hierRoot2" presStyleCnt="0">
        <dgm:presLayoutVars>
          <dgm:hierBranch val="init"/>
        </dgm:presLayoutVars>
      </dgm:prSet>
      <dgm:spPr/>
    </dgm:pt>
    <dgm:pt modelId="{A1717F5A-B3B3-4867-9B2B-B647838EE0A5}" type="pres">
      <dgm:prSet presAssocID="{2C31E7C3-114E-4286-84A2-A110F22834EB}" presName="rootComposite" presStyleCnt="0"/>
      <dgm:spPr/>
    </dgm:pt>
    <dgm:pt modelId="{5FD5C512-6516-47ED-9F8C-384FE16B7384}" type="pres">
      <dgm:prSet presAssocID="{2C31E7C3-114E-4286-84A2-A110F22834EB}" presName="rootText" presStyleLbl="node3" presStyleIdx="3" presStyleCnt="4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816DE43-F5B9-44F4-96FB-4400224641C9}" type="pres">
      <dgm:prSet presAssocID="{2C31E7C3-114E-4286-84A2-A110F22834EB}" presName="rootConnector" presStyleLbl="node3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9E1CC932-C84B-425A-9CA2-838019215862}" type="pres">
      <dgm:prSet presAssocID="{2C31E7C3-114E-4286-84A2-A110F22834EB}" presName="hierChild4" presStyleCnt="0"/>
      <dgm:spPr/>
    </dgm:pt>
    <dgm:pt modelId="{521233A8-D573-4B60-A683-EDF0D588D1B0}" type="pres">
      <dgm:prSet presAssocID="{0D74438D-83A6-4DFC-B066-5D2EF9276D91}" presName="Name37" presStyleLbl="parChTrans1D4" presStyleIdx="5" presStyleCnt="8"/>
      <dgm:spPr/>
      <dgm:t>
        <a:bodyPr/>
        <a:lstStyle/>
        <a:p>
          <a:pPr latinLnBrk="1"/>
          <a:endParaRPr lang="ko-KR" altLang="en-US"/>
        </a:p>
      </dgm:t>
    </dgm:pt>
    <dgm:pt modelId="{E0BD06EE-5594-42C7-BC30-731DAA94D2BA}" type="pres">
      <dgm:prSet presAssocID="{65DC873E-897D-433D-9120-E4E8252E3464}" presName="hierRoot2" presStyleCnt="0">
        <dgm:presLayoutVars>
          <dgm:hierBranch val="init"/>
        </dgm:presLayoutVars>
      </dgm:prSet>
      <dgm:spPr/>
    </dgm:pt>
    <dgm:pt modelId="{4ED81A1A-C4E5-4301-86B9-350A7D703552}" type="pres">
      <dgm:prSet presAssocID="{65DC873E-897D-433D-9120-E4E8252E3464}" presName="rootComposite" presStyleCnt="0"/>
      <dgm:spPr/>
    </dgm:pt>
    <dgm:pt modelId="{B9693ECF-379B-46F1-BAA8-9600C9A06547}" type="pres">
      <dgm:prSet presAssocID="{65DC873E-897D-433D-9120-E4E8252E3464}" presName="rootText" presStyleLbl="node4" presStyleIdx="5" presStyleCnt="8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24F4067-D8BB-48C6-9808-F81F05804206}" type="pres">
      <dgm:prSet presAssocID="{65DC873E-897D-433D-9120-E4E8252E3464}" presName="rootConnector" presStyleLbl="node4" presStyleIdx="5" presStyleCnt="8"/>
      <dgm:spPr/>
      <dgm:t>
        <a:bodyPr/>
        <a:lstStyle/>
        <a:p>
          <a:pPr latinLnBrk="1"/>
          <a:endParaRPr lang="ko-KR" altLang="en-US"/>
        </a:p>
      </dgm:t>
    </dgm:pt>
    <dgm:pt modelId="{5DDC753C-8B00-497E-8252-D334A8C0BC7C}" type="pres">
      <dgm:prSet presAssocID="{65DC873E-897D-433D-9120-E4E8252E3464}" presName="hierChild4" presStyleCnt="0"/>
      <dgm:spPr/>
    </dgm:pt>
    <dgm:pt modelId="{0A103333-E84A-4D61-BD15-939EA6D9D10B}" type="pres">
      <dgm:prSet presAssocID="{65DC873E-897D-433D-9120-E4E8252E3464}" presName="hierChild5" presStyleCnt="0"/>
      <dgm:spPr/>
    </dgm:pt>
    <dgm:pt modelId="{12EC1DF9-C0B9-4358-AD1C-271BC88AAD04}" type="pres">
      <dgm:prSet presAssocID="{9C7F346A-437B-4622-B2CB-A62EDC53B5B1}" presName="Name37" presStyleLbl="parChTrans1D4" presStyleIdx="6" presStyleCnt="8"/>
      <dgm:spPr/>
      <dgm:t>
        <a:bodyPr/>
        <a:lstStyle/>
        <a:p>
          <a:pPr latinLnBrk="1"/>
          <a:endParaRPr lang="ko-KR" altLang="en-US"/>
        </a:p>
      </dgm:t>
    </dgm:pt>
    <dgm:pt modelId="{E5BE6DC1-0A8F-4F72-9252-2DA87A175637}" type="pres">
      <dgm:prSet presAssocID="{39184ACB-53D6-445A-AD12-8D8BCB1587C1}" presName="hierRoot2" presStyleCnt="0">
        <dgm:presLayoutVars>
          <dgm:hierBranch val="init"/>
        </dgm:presLayoutVars>
      </dgm:prSet>
      <dgm:spPr/>
    </dgm:pt>
    <dgm:pt modelId="{43AF2A9B-D83F-4F77-8174-14C30D694409}" type="pres">
      <dgm:prSet presAssocID="{39184ACB-53D6-445A-AD12-8D8BCB1587C1}" presName="rootComposite" presStyleCnt="0"/>
      <dgm:spPr/>
    </dgm:pt>
    <dgm:pt modelId="{45125ABD-33BD-40C4-AB3D-5B2FB9BE1271}" type="pres">
      <dgm:prSet presAssocID="{39184ACB-53D6-445A-AD12-8D8BCB1587C1}" presName="rootText" presStyleLbl="node4" presStyleIdx="6" presStyleCnt="8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CBC27F5-F150-43A1-9627-E35936BED7C3}" type="pres">
      <dgm:prSet presAssocID="{39184ACB-53D6-445A-AD12-8D8BCB1587C1}" presName="rootConnector" presStyleLbl="node4" presStyleIdx="6" presStyleCnt="8"/>
      <dgm:spPr/>
      <dgm:t>
        <a:bodyPr/>
        <a:lstStyle/>
        <a:p>
          <a:pPr latinLnBrk="1"/>
          <a:endParaRPr lang="ko-KR" altLang="en-US"/>
        </a:p>
      </dgm:t>
    </dgm:pt>
    <dgm:pt modelId="{0E7C9538-6B6D-483D-9F1F-8CCDFBDE41D4}" type="pres">
      <dgm:prSet presAssocID="{39184ACB-53D6-445A-AD12-8D8BCB1587C1}" presName="hierChild4" presStyleCnt="0"/>
      <dgm:spPr/>
    </dgm:pt>
    <dgm:pt modelId="{E5D9E7E1-66B4-4EB8-9FF5-7C30CA669C72}" type="pres">
      <dgm:prSet presAssocID="{39184ACB-53D6-445A-AD12-8D8BCB1587C1}" presName="hierChild5" presStyleCnt="0"/>
      <dgm:spPr/>
    </dgm:pt>
    <dgm:pt modelId="{13BFD89B-F024-46EC-82CB-922FA2F1BE4E}" type="pres">
      <dgm:prSet presAssocID="{CDF14963-0031-4A51-A5C3-5FFAF5A82E9F}" presName="Name37" presStyleLbl="parChTrans1D4" presStyleIdx="7" presStyleCnt="8"/>
      <dgm:spPr/>
      <dgm:t>
        <a:bodyPr/>
        <a:lstStyle/>
        <a:p>
          <a:pPr latinLnBrk="1"/>
          <a:endParaRPr lang="ko-KR" altLang="en-US"/>
        </a:p>
      </dgm:t>
    </dgm:pt>
    <dgm:pt modelId="{B1AF9ECA-69F6-4BAC-89F7-85280CE6785C}" type="pres">
      <dgm:prSet presAssocID="{E35C69FE-8821-4D81-88AA-42C379C36929}" presName="hierRoot2" presStyleCnt="0">
        <dgm:presLayoutVars>
          <dgm:hierBranch val="init"/>
        </dgm:presLayoutVars>
      </dgm:prSet>
      <dgm:spPr/>
    </dgm:pt>
    <dgm:pt modelId="{F8F118DC-5D29-4B48-B127-2D2520A38F69}" type="pres">
      <dgm:prSet presAssocID="{E35C69FE-8821-4D81-88AA-42C379C36929}" presName="rootComposite" presStyleCnt="0"/>
      <dgm:spPr/>
    </dgm:pt>
    <dgm:pt modelId="{27581EA2-D022-49F0-8DFE-F2E741585E66}" type="pres">
      <dgm:prSet presAssocID="{E35C69FE-8821-4D81-88AA-42C379C36929}" presName="rootText" presStyleLbl="node4" presStyleIdx="7" presStyleCnt="8" custScaleX="103580" custScaleY="6720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1DFF8F46-91E3-41A5-AE46-734B03F58C00}" type="pres">
      <dgm:prSet presAssocID="{E35C69FE-8821-4D81-88AA-42C379C36929}" presName="rootConnector" presStyleLbl="node4" presStyleIdx="7" presStyleCnt="8"/>
      <dgm:spPr/>
      <dgm:t>
        <a:bodyPr/>
        <a:lstStyle/>
        <a:p>
          <a:pPr latinLnBrk="1"/>
          <a:endParaRPr lang="ko-KR" altLang="en-US"/>
        </a:p>
      </dgm:t>
    </dgm:pt>
    <dgm:pt modelId="{66355B54-B227-4E62-891B-13B39B3781DA}" type="pres">
      <dgm:prSet presAssocID="{E35C69FE-8821-4D81-88AA-42C379C36929}" presName="hierChild4" presStyleCnt="0"/>
      <dgm:spPr/>
    </dgm:pt>
    <dgm:pt modelId="{0FCCB5A1-490D-45CB-8170-FC1AFCB66555}" type="pres">
      <dgm:prSet presAssocID="{E35C69FE-8821-4D81-88AA-42C379C36929}" presName="hierChild5" presStyleCnt="0"/>
      <dgm:spPr/>
    </dgm:pt>
    <dgm:pt modelId="{018ED94A-44C2-4EE1-A693-1CE607805FA0}" type="pres">
      <dgm:prSet presAssocID="{2C31E7C3-114E-4286-84A2-A110F22834EB}" presName="hierChild5" presStyleCnt="0"/>
      <dgm:spPr/>
    </dgm:pt>
    <dgm:pt modelId="{CF1DE82E-D3F6-45EB-9840-D791AA4DE707}" type="pres">
      <dgm:prSet presAssocID="{27809B1E-ACB5-4EC5-8764-214E4EEC1B00}" presName="hierChild5" presStyleCnt="0"/>
      <dgm:spPr/>
    </dgm:pt>
    <dgm:pt modelId="{37666F81-7E92-4D67-932F-6A797ACDBA5C}" type="pres">
      <dgm:prSet presAssocID="{29B11A98-9D33-4B61-A1C4-0BD1F530C062}" presName="hierChild3" presStyleCnt="0"/>
      <dgm:spPr/>
    </dgm:pt>
  </dgm:ptLst>
  <dgm:cxnLst>
    <dgm:cxn modelId="{2EE2585D-3496-4402-8A88-6890CBED632B}" type="presOf" srcId="{CB15E05C-0E18-4AB1-BB33-914C850A6CE6}" destId="{4114D1DD-1AAF-41F7-A7F7-918767AF0406}" srcOrd="0" destOrd="0" presId="urn:microsoft.com/office/officeart/2005/8/layout/orgChart1"/>
    <dgm:cxn modelId="{C5088720-1B64-4BDE-AB0B-ABD4AFB1171C}" type="presOf" srcId="{29DD73ED-3BDB-4C52-853A-36FC0EA20AF7}" destId="{6DF3FE2B-F1DA-4413-8913-2B9E5EE9BE1A}" srcOrd="0" destOrd="0" presId="urn:microsoft.com/office/officeart/2005/8/layout/orgChart1"/>
    <dgm:cxn modelId="{A009B698-9B16-41F8-9BE8-D3CC7E4534CA}" srcId="{50CF7D8C-7ED1-4102-8347-F71CA316740F}" destId="{60CBB08E-EF13-4941-91EA-CE35D6A9BC7C}" srcOrd="0" destOrd="0" parTransId="{B01CBABA-8942-409E-8096-D3A4E82429D2}" sibTransId="{87171398-A037-4F85-B3C0-77F965A19C2A}"/>
    <dgm:cxn modelId="{B13E8F54-52FF-44C9-A591-F6889F12F638}" type="presOf" srcId="{D0E7357C-0F89-42A3-ACC2-97DE8F12497B}" destId="{F8054045-13C6-4793-90B2-93AE757394FE}" srcOrd="1" destOrd="0" presId="urn:microsoft.com/office/officeart/2005/8/layout/orgChart1"/>
    <dgm:cxn modelId="{1DE6F2BC-D70B-416F-90F7-823766003BFA}" srcId="{29B11A98-9D33-4B61-A1C4-0BD1F530C062}" destId="{50CF7D8C-7ED1-4102-8347-F71CA316740F}" srcOrd="2" destOrd="0" parTransId="{1161B3C3-4CC8-4D03-9228-213AB69E18C5}" sibTransId="{183EBCF5-23D5-4929-8430-8C3D8B7BD2FC}"/>
    <dgm:cxn modelId="{BFE78E32-72E7-4DBA-83AB-5F23BB629A8D}" type="presOf" srcId="{DB071331-65AC-4F4B-88A1-73AB9E168912}" destId="{7A7136E1-CBCF-4CD9-86AB-8BC82BD8452F}" srcOrd="0" destOrd="0" presId="urn:microsoft.com/office/officeart/2005/8/layout/orgChart1"/>
    <dgm:cxn modelId="{E80BDD33-13D8-473A-95D0-399B314A1D0C}" type="presOf" srcId="{29B11A98-9D33-4B61-A1C4-0BD1F530C062}" destId="{5197FF8D-FC58-4291-A413-97D4B3FFC8DA}" srcOrd="0" destOrd="0" presId="urn:microsoft.com/office/officeart/2005/8/layout/orgChart1"/>
    <dgm:cxn modelId="{3F47BEB0-F541-4967-A31E-B1D002F38098}" type="presOf" srcId="{27809B1E-ACB5-4EC5-8764-214E4EEC1B00}" destId="{F6DBE938-79ED-4BB6-B601-50EF87574107}" srcOrd="1" destOrd="0" presId="urn:microsoft.com/office/officeart/2005/8/layout/orgChart1"/>
    <dgm:cxn modelId="{5554ECEB-5513-4B23-87A6-C9DF9711686A}" srcId="{40FF39DC-82F8-41CA-B7B9-CC56D9A5B34B}" destId="{0D3039E0-1F69-4B7D-8F76-2E7447C24984}" srcOrd="0" destOrd="0" parTransId="{3CC58F7F-98F9-4AED-BB13-A65BDD0646EB}" sibTransId="{6D7888A5-B01E-43C6-AB9D-1957986F30DA}"/>
    <dgm:cxn modelId="{E02974B7-F20F-496B-B16E-B4CF371F41CC}" type="presOf" srcId="{26FD6AAE-BB93-465D-A3ED-F3202652F5DE}" destId="{32A11FE5-1E99-4AA1-95A6-D2087475E7BF}" srcOrd="0" destOrd="0" presId="urn:microsoft.com/office/officeart/2005/8/layout/orgChart1"/>
    <dgm:cxn modelId="{9694FABF-E85C-423B-8DEB-7A2461CB1D8C}" type="presOf" srcId="{CB15E05C-0E18-4AB1-BB33-914C850A6CE6}" destId="{27E7EFC2-7741-4D36-8855-CCF2FE2CB825}" srcOrd="1" destOrd="0" presId="urn:microsoft.com/office/officeart/2005/8/layout/orgChart1"/>
    <dgm:cxn modelId="{A8FFEF56-FC3D-43A1-898C-49740FBAC26D}" type="presOf" srcId="{9C7F346A-437B-4622-B2CB-A62EDC53B5B1}" destId="{12EC1DF9-C0B9-4358-AD1C-271BC88AAD04}" srcOrd="0" destOrd="0" presId="urn:microsoft.com/office/officeart/2005/8/layout/orgChart1"/>
    <dgm:cxn modelId="{5E3804EF-67B2-497D-A58A-2C398015D9D3}" srcId="{8F47B722-8C74-4E42-959D-B200DD9A0423}" destId="{01D388E7-1A65-41B1-B0F3-C1E8B9DFB691}" srcOrd="0" destOrd="0" parTransId="{29DD73ED-3BDB-4C52-853A-36FC0EA20AF7}" sibTransId="{81ADB565-FA05-4214-A206-8AD5296249CC}"/>
    <dgm:cxn modelId="{43B24F7A-E360-4142-93D1-E4FD4CEAB1C5}" type="presOf" srcId="{8F47B722-8C74-4E42-959D-B200DD9A0423}" destId="{FF0CBA67-A219-4313-B4DC-C4682C06DE52}" srcOrd="1" destOrd="0" presId="urn:microsoft.com/office/officeart/2005/8/layout/orgChart1"/>
    <dgm:cxn modelId="{7A8A90C3-D2CB-4224-815B-3317CE5391EF}" type="presOf" srcId="{40FF39DC-82F8-41CA-B7B9-CC56D9A5B34B}" destId="{09CA3129-8B94-4B14-958F-A7CA4D18A9B9}" srcOrd="0" destOrd="0" presId="urn:microsoft.com/office/officeart/2005/8/layout/orgChart1"/>
    <dgm:cxn modelId="{2D47FD8C-6379-4E8F-AFF8-1481E2684F09}" srcId="{D0E7357C-0F89-42A3-ACC2-97DE8F12497B}" destId="{D9100671-4CB5-4820-B7B4-4B271219FE40}" srcOrd="0" destOrd="0" parTransId="{FE4C2277-3322-4A9A-A65D-A29A82815C0B}" sibTransId="{F23F7E79-4337-4D3C-B7A7-04418D03F494}"/>
    <dgm:cxn modelId="{11C107DB-2C5B-490B-9FAC-970FD6F43FAD}" type="presOf" srcId="{D9100671-4CB5-4820-B7B4-4B271219FE40}" destId="{366FD547-57D6-420F-8969-85C85847F670}" srcOrd="0" destOrd="0" presId="urn:microsoft.com/office/officeart/2005/8/layout/orgChart1"/>
    <dgm:cxn modelId="{94D669C2-87A3-445A-B2B3-23942F17D0D0}" type="presOf" srcId="{60CBB08E-EF13-4941-91EA-CE35D6A9BC7C}" destId="{65C0A499-92EB-45F2-949A-1B73F4D033F2}" srcOrd="0" destOrd="0" presId="urn:microsoft.com/office/officeart/2005/8/layout/orgChart1"/>
    <dgm:cxn modelId="{D662C907-0162-40AD-8466-F1C2AD9E9A76}" srcId="{29B11A98-9D33-4B61-A1C4-0BD1F530C062}" destId="{8F47B722-8C74-4E42-959D-B200DD9A0423}" srcOrd="1" destOrd="0" parTransId="{F93C97F4-BFB9-4CC0-9E4E-8D85C7FC5B0C}" sibTransId="{2828F8D8-B92D-4B85-882F-546C78C90802}"/>
    <dgm:cxn modelId="{D34738D7-3CC4-468F-9C26-6FB346A6A4AD}" type="presOf" srcId="{60CBB08E-EF13-4941-91EA-CE35D6A9BC7C}" destId="{98E166B0-531E-43B7-8A97-C6036663D8E6}" srcOrd="1" destOrd="0" presId="urn:microsoft.com/office/officeart/2005/8/layout/orgChart1"/>
    <dgm:cxn modelId="{55A84831-9E56-4661-B329-4DD41E505B4B}" type="presOf" srcId="{D0E7357C-0F89-42A3-ACC2-97DE8F12497B}" destId="{06706562-2085-4C5D-9F32-D879389E4EC6}" srcOrd="0" destOrd="0" presId="urn:microsoft.com/office/officeart/2005/8/layout/orgChart1"/>
    <dgm:cxn modelId="{D897E0A2-D0F3-4CC0-A42A-11C500FC71B3}" type="presOf" srcId="{27809B1E-ACB5-4EC5-8764-214E4EEC1B00}" destId="{F64A5C08-9C7D-4E71-AB14-8CF1F43E6643}" srcOrd="0" destOrd="0" presId="urn:microsoft.com/office/officeart/2005/8/layout/orgChart1"/>
    <dgm:cxn modelId="{12E97946-FE52-4278-84E3-5EA2D913741D}" type="presOf" srcId="{8F47B722-8C74-4E42-959D-B200DD9A0423}" destId="{8A7301E4-6839-4A0B-BBD5-6C11DD40797D}" srcOrd="0" destOrd="0" presId="urn:microsoft.com/office/officeart/2005/8/layout/orgChart1"/>
    <dgm:cxn modelId="{3DB386AB-48FF-4BBF-A451-DDD838D25B89}" type="presOf" srcId="{16CFFC99-9FC8-48B6-901B-664BBBB409D2}" destId="{25490263-AA39-456D-B8BE-13FAC661C19E}" srcOrd="0" destOrd="0" presId="urn:microsoft.com/office/officeart/2005/8/layout/orgChart1"/>
    <dgm:cxn modelId="{6D87870A-BA3D-4B96-B32E-7B15A374F297}" type="presOf" srcId="{01D388E7-1A65-41B1-B0F3-C1E8B9DFB691}" destId="{14C0F6B3-7708-4CAD-B8EC-E9A689648763}" srcOrd="0" destOrd="0" presId="urn:microsoft.com/office/officeart/2005/8/layout/orgChart1"/>
    <dgm:cxn modelId="{48F16EB4-DADF-4EEC-9088-BA9CB3229E92}" srcId="{2C31E7C3-114E-4286-84A2-A110F22834EB}" destId="{65DC873E-897D-433D-9120-E4E8252E3464}" srcOrd="0" destOrd="0" parTransId="{0D74438D-83A6-4DFC-B066-5D2EF9276D91}" sibTransId="{8CFBC1B8-A400-4DE1-87B4-C8F41478FFA2}"/>
    <dgm:cxn modelId="{A8C71D96-C6E7-413D-BD33-5B9CA0DEA40F}" type="presOf" srcId="{F93C97F4-BFB9-4CC0-9E4E-8D85C7FC5B0C}" destId="{E3F6FB8C-F2C7-4BA2-AA1B-64E02C01B378}" srcOrd="0" destOrd="0" presId="urn:microsoft.com/office/officeart/2005/8/layout/orgChart1"/>
    <dgm:cxn modelId="{06D61C3A-4829-407D-8EC8-596E22A13CEE}" type="presOf" srcId="{AF3E9BD3-BBF8-47F9-9C1B-0349D236F3D7}" destId="{398E9BCF-C768-462A-9BB8-E58EF94C9791}" srcOrd="0" destOrd="0" presId="urn:microsoft.com/office/officeart/2005/8/layout/orgChart1"/>
    <dgm:cxn modelId="{2097B25A-6D22-43CD-8685-D37C4BA456F4}" type="presOf" srcId="{D17AFCDF-A84F-42C7-9568-98E7765CC252}" destId="{BAAD8B09-C8BE-4781-80CB-CD68113FA53E}" srcOrd="1" destOrd="0" presId="urn:microsoft.com/office/officeart/2005/8/layout/orgChart1"/>
    <dgm:cxn modelId="{04B64535-A654-4CEA-BDF9-08A6DDDF3118}" type="presOf" srcId="{2C31E7C3-114E-4286-84A2-A110F22834EB}" destId="{B816DE43-F5B9-44F4-96FB-4400224641C9}" srcOrd="1" destOrd="0" presId="urn:microsoft.com/office/officeart/2005/8/layout/orgChart1"/>
    <dgm:cxn modelId="{2EF468AC-6475-45E1-987A-7FC97AC98CA0}" type="presOf" srcId="{320C96B2-801F-4066-9C4B-3F3600F18F11}" destId="{A7AD82A4-DE85-49DA-9FB3-F67B7B8D78A5}" srcOrd="0" destOrd="0" presId="urn:microsoft.com/office/officeart/2005/8/layout/orgChart1"/>
    <dgm:cxn modelId="{A1CAAA2E-ED4F-4275-BA7F-B2AEC8E3C0B3}" type="presOf" srcId="{40FF39DC-82F8-41CA-B7B9-CC56D9A5B34B}" destId="{A135482C-7C3E-4A3A-AB63-C361DE474E45}" srcOrd="1" destOrd="0" presId="urn:microsoft.com/office/officeart/2005/8/layout/orgChart1"/>
    <dgm:cxn modelId="{11B0C6AC-D7AA-4244-893B-8347C3524A1D}" type="presOf" srcId="{266BBE48-F423-4813-B0B4-D043CA72629D}" destId="{4BA0D1F8-7A76-45FB-9F8B-A143F3689240}" srcOrd="0" destOrd="0" presId="urn:microsoft.com/office/officeart/2005/8/layout/orgChart1"/>
    <dgm:cxn modelId="{0CC164DB-CFBE-492E-8603-60C20E6D9455}" srcId="{29B11A98-9D33-4B61-A1C4-0BD1F530C062}" destId="{D17AFCDF-A84F-42C7-9568-98E7765CC252}" srcOrd="0" destOrd="0" parTransId="{85C7D48A-DFF2-4084-80F0-1CF3758EFDF3}" sibTransId="{1551EB1F-4DBE-45B7-AC97-98C798222F40}"/>
    <dgm:cxn modelId="{A9CBD8E3-3A35-44A1-BE90-7BCD65ABEEF8}" type="presOf" srcId="{39184ACB-53D6-445A-AD12-8D8BCB1587C1}" destId="{45125ABD-33BD-40C4-AB3D-5B2FB9BE1271}" srcOrd="0" destOrd="0" presId="urn:microsoft.com/office/officeart/2005/8/layout/orgChart1"/>
    <dgm:cxn modelId="{AD6C45D8-7523-4C66-8C36-BB74DBC5C37C}" type="presOf" srcId="{E35C69FE-8821-4D81-88AA-42C379C36929}" destId="{27581EA2-D022-49F0-8DFE-F2E741585E66}" srcOrd="0" destOrd="0" presId="urn:microsoft.com/office/officeart/2005/8/layout/orgChart1"/>
    <dgm:cxn modelId="{4F907C52-3D01-4A0D-8C07-1B6296CB93F0}" type="presOf" srcId="{0D3039E0-1F69-4B7D-8F76-2E7447C24984}" destId="{03DFBC13-575B-44C5-9411-8C49A89188ED}" srcOrd="1" destOrd="0" presId="urn:microsoft.com/office/officeart/2005/8/layout/orgChart1"/>
    <dgm:cxn modelId="{C30B8373-8B2B-43CD-BF87-8735C795A0C2}" type="presOf" srcId="{B01CBABA-8942-409E-8096-D3A4E82429D2}" destId="{DFCF65C2-1D4E-4203-8483-263873D3B705}" srcOrd="0" destOrd="0" presId="urn:microsoft.com/office/officeart/2005/8/layout/orgChart1"/>
    <dgm:cxn modelId="{80B7E52E-0F16-4EC7-A7ED-6F0F7B0B7AA7}" type="presOf" srcId="{E35C69FE-8821-4D81-88AA-42C379C36929}" destId="{1DFF8F46-91E3-41A5-AE46-734B03F58C00}" srcOrd="1" destOrd="0" presId="urn:microsoft.com/office/officeart/2005/8/layout/orgChart1"/>
    <dgm:cxn modelId="{F513BAE0-F2DC-4485-8A25-7DFCDE23D6CC}" type="presOf" srcId="{85C7D48A-DFF2-4084-80F0-1CF3758EFDF3}" destId="{7BC8F406-0DC9-45A7-B698-8C9D764F5402}" srcOrd="0" destOrd="0" presId="urn:microsoft.com/office/officeart/2005/8/layout/orgChart1"/>
    <dgm:cxn modelId="{6E3C7434-3BA8-4412-9E96-CB406ECDF7DA}" type="presOf" srcId="{29B11A98-9D33-4B61-A1C4-0BD1F530C062}" destId="{970D5FEC-0549-4E44-BEF7-3C055DD5E0EB}" srcOrd="1" destOrd="0" presId="urn:microsoft.com/office/officeart/2005/8/layout/orgChart1"/>
    <dgm:cxn modelId="{1EE7F94F-E705-4D3D-B673-151DC2FF4E59}" type="presOf" srcId="{D17AFCDF-A84F-42C7-9568-98E7765CC252}" destId="{5AEC8923-A78B-4727-9ED7-DE90C1D72093}" srcOrd="0" destOrd="0" presId="urn:microsoft.com/office/officeart/2005/8/layout/orgChart1"/>
    <dgm:cxn modelId="{1426E032-F01D-46FE-8674-C89293DC5D1E}" srcId="{01D388E7-1A65-41B1-B0F3-C1E8B9DFB691}" destId="{40FF39DC-82F8-41CA-B7B9-CC56D9A5B34B}" srcOrd="0" destOrd="0" parTransId="{16CFFC99-9FC8-48B6-901B-664BBBB409D2}" sibTransId="{64E9D940-0D52-4098-8436-5E2DDB56F059}"/>
    <dgm:cxn modelId="{5FF6293E-36FB-4BB3-9D02-9A9D12DFDD95}" type="presOf" srcId="{50CF7D8C-7ED1-4102-8347-F71CA316740F}" destId="{7E3A5B43-1594-4AEF-A8C9-9DDF3845EB77}" srcOrd="0" destOrd="0" presId="urn:microsoft.com/office/officeart/2005/8/layout/orgChart1"/>
    <dgm:cxn modelId="{0EA41B11-F093-412C-8BA9-E57CC1319993}" type="presOf" srcId="{2C31E7C3-114E-4286-84A2-A110F22834EB}" destId="{5FD5C512-6516-47ED-9F8C-384FE16B7384}" srcOrd="0" destOrd="0" presId="urn:microsoft.com/office/officeart/2005/8/layout/orgChart1"/>
    <dgm:cxn modelId="{37BDCBA4-2F04-4DA5-8BF0-E3076D2F1E56}" type="presOf" srcId="{50CF7D8C-7ED1-4102-8347-F71CA316740F}" destId="{A814F93A-BA38-4945-8DB7-3A338E9C09C0}" srcOrd="1" destOrd="0" presId="urn:microsoft.com/office/officeart/2005/8/layout/orgChart1"/>
    <dgm:cxn modelId="{96ECD48B-ACD8-4554-A6FE-B12863723220}" srcId="{2CF8B66D-8174-4BE4-B419-64DC77D94A8C}" destId="{CB15E05C-0E18-4AB1-BB33-914C850A6CE6}" srcOrd="0" destOrd="0" parTransId="{320C96B2-801F-4066-9C4B-3F3600F18F11}" sibTransId="{ABF9391D-E97C-46BF-8DAA-645AF691B5FF}"/>
    <dgm:cxn modelId="{2DDDE7FB-8642-443A-8FCC-8E852824C141}" srcId="{29B11A98-9D33-4B61-A1C4-0BD1F530C062}" destId="{27809B1E-ACB5-4EC5-8764-214E4EEC1B00}" srcOrd="3" destOrd="0" parTransId="{DB071331-65AC-4F4B-88A1-73AB9E168912}" sibTransId="{E13D3EDC-40B0-463F-B6CC-18DD77830A21}"/>
    <dgm:cxn modelId="{DA5C012F-038F-4CA0-8FB8-C740E7C9DA0F}" srcId="{2C31E7C3-114E-4286-84A2-A110F22834EB}" destId="{E35C69FE-8821-4D81-88AA-42C379C36929}" srcOrd="2" destOrd="0" parTransId="{CDF14963-0031-4A51-A5C3-5FFAF5A82E9F}" sibTransId="{6B53EF74-0FEA-4CCA-8688-8CC2824417A4}"/>
    <dgm:cxn modelId="{5C668A27-0896-43EC-9B7C-56D91B3B41F1}" srcId="{AF3E9BD3-BBF8-47F9-9C1B-0349D236F3D7}" destId="{29B11A98-9D33-4B61-A1C4-0BD1F530C062}" srcOrd="0" destOrd="0" parTransId="{20619E98-0026-4190-8EED-D055608813CA}" sibTransId="{E8B20800-3E57-47DA-A3C1-8C60357C4E1C}"/>
    <dgm:cxn modelId="{67F9D403-A31E-4F32-8236-16823029251F}" type="presOf" srcId="{FE4C2277-3322-4A9A-A65D-A29A82815C0B}" destId="{698508D6-C93E-4E49-A7B9-B4DA6FBDF86C}" srcOrd="0" destOrd="0" presId="urn:microsoft.com/office/officeart/2005/8/layout/orgChart1"/>
    <dgm:cxn modelId="{B2BA69B5-973A-4E02-B4C3-96F45CC0E7E7}" type="presOf" srcId="{65DC873E-897D-433D-9120-E4E8252E3464}" destId="{B9693ECF-379B-46F1-BAA8-9600C9A06547}" srcOrd="0" destOrd="0" presId="urn:microsoft.com/office/officeart/2005/8/layout/orgChart1"/>
    <dgm:cxn modelId="{3464B9FA-FA54-4B66-959A-7509EEA24490}" srcId="{27809B1E-ACB5-4EC5-8764-214E4EEC1B00}" destId="{2C31E7C3-114E-4286-84A2-A110F22834EB}" srcOrd="0" destOrd="0" parTransId="{F44C7AA9-9F5F-48E8-AEE9-3E681611FE7C}" sibTransId="{8C356CC7-8B81-417D-A9D2-F9B28D77A969}"/>
    <dgm:cxn modelId="{DEBB6617-B541-47A6-9D5A-0AD80DE5A64C}" type="presOf" srcId="{3CC58F7F-98F9-4AED-BB13-A65BDD0646EB}" destId="{7A2DCF16-4793-4F62-8615-1A86A0383840}" srcOrd="0" destOrd="0" presId="urn:microsoft.com/office/officeart/2005/8/layout/orgChart1"/>
    <dgm:cxn modelId="{5CA8A15D-E720-4C5E-BF99-0204D519C048}" type="presOf" srcId="{1161B3C3-4CC8-4D03-9228-213AB69E18C5}" destId="{E68009D5-0F24-495C-B17E-71B0D4EE1A02}" srcOrd="0" destOrd="0" presId="urn:microsoft.com/office/officeart/2005/8/layout/orgChart1"/>
    <dgm:cxn modelId="{9D5AE145-9354-4614-8F76-6E49BE9E638A}" type="presOf" srcId="{2CF8B66D-8174-4BE4-B419-64DC77D94A8C}" destId="{C991FD64-A9E4-4E4E-9AC8-B5BEFA41DAF1}" srcOrd="0" destOrd="0" presId="urn:microsoft.com/office/officeart/2005/8/layout/orgChart1"/>
    <dgm:cxn modelId="{DD691126-6990-4B92-ACD1-0CC7B2D7028A}" srcId="{2C31E7C3-114E-4286-84A2-A110F22834EB}" destId="{39184ACB-53D6-445A-AD12-8D8BCB1587C1}" srcOrd="1" destOrd="0" parTransId="{9C7F346A-437B-4622-B2CB-A62EDC53B5B1}" sibTransId="{64F6FEC0-E786-497E-BD1C-385894A5C863}"/>
    <dgm:cxn modelId="{45562B44-31F1-45E7-B39C-72249ACE83F5}" type="presOf" srcId="{01D388E7-1A65-41B1-B0F3-C1E8B9DFB691}" destId="{23F6EC11-8BB0-4EB2-9B75-2CB751E9AFFE}" srcOrd="1" destOrd="0" presId="urn:microsoft.com/office/officeart/2005/8/layout/orgChart1"/>
    <dgm:cxn modelId="{5669BD61-E99A-4A67-8563-ECD6D09060F7}" type="presOf" srcId="{CDF14963-0031-4A51-A5C3-5FFAF5A82E9F}" destId="{13BFD89B-F024-46EC-82CB-922FA2F1BE4E}" srcOrd="0" destOrd="0" presId="urn:microsoft.com/office/officeart/2005/8/layout/orgChart1"/>
    <dgm:cxn modelId="{767F81E6-C29D-400A-8CC7-A8499A477AB2}" type="presOf" srcId="{D9100671-4CB5-4820-B7B4-4B271219FE40}" destId="{EB94A250-EE4C-4630-9677-2500B1056E16}" srcOrd="1" destOrd="0" presId="urn:microsoft.com/office/officeart/2005/8/layout/orgChart1"/>
    <dgm:cxn modelId="{39801674-90FC-42AB-96E2-29EA19E669DC}" srcId="{D17AFCDF-A84F-42C7-9568-98E7765CC252}" destId="{D0E7357C-0F89-42A3-ACC2-97DE8F12497B}" srcOrd="0" destOrd="0" parTransId="{26FD6AAE-BB93-465D-A3ED-F3202652F5DE}" sibTransId="{CB72FC68-595B-4EA7-BFE7-B5DF638B56D7}"/>
    <dgm:cxn modelId="{5FD34BC8-530C-465A-9EA0-DFA18158B12B}" type="presOf" srcId="{2CF8B66D-8174-4BE4-B419-64DC77D94A8C}" destId="{FBAD4223-2F15-4A1F-8B72-E4CEE4217AF4}" srcOrd="1" destOrd="0" presId="urn:microsoft.com/office/officeart/2005/8/layout/orgChart1"/>
    <dgm:cxn modelId="{E0A014D0-84C4-4158-BA98-E14FC7CBC25B}" srcId="{60CBB08E-EF13-4941-91EA-CE35D6A9BC7C}" destId="{2CF8B66D-8174-4BE4-B419-64DC77D94A8C}" srcOrd="0" destOrd="0" parTransId="{266BBE48-F423-4813-B0B4-D043CA72629D}" sibTransId="{430A65F5-7990-42BD-9FA4-31BBB54D3288}"/>
    <dgm:cxn modelId="{09A9F1D4-B3AB-4034-8CE2-E8CCC6BACD45}" type="presOf" srcId="{39184ACB-53D6-445A-AD12-8D8BCB1587C1}" destId="{DCBC27F5-F150-43A1-9627-E35936BED7C3}" srcOrd="1" destOrd="0" presId="urn:microsoft.com/office/officeart/2005/8/layout/orgChart1"/>
    <dgm:cxn modelId="{14607819-A3F6-4DC9-A49B-3F8891ADE016}" type="presOf" srcId="{F44C7AA9-9F5F-48E8-AEE9-3E681611FE7C}" destId="{1DDDFFC9-E5A8-4087-9E95-1FB681DF4CC5}" srcOrd="0" destOrd="0" presId="urn:microsoft.com/office/officeart/2005/8/layout/orgChart1"/>
    <dgm:cxn modelId="{76D73CF5-652D-4DCF-96C2-18D04FC53887}" type="presOf" srcId="{0D3039E0-1F69-4B7D-8F76-2E7447C24984}" destId="{1B6B3A2C-2B86-46D8-8C2F-D122B2AA83BF}" srcOrd="0" destOrd="0" presId="urn:microsoft.com/office/officeart/2005/8/layout/orgChart1"/>
    <dgm:cxn modelId="{5EAAADCA-6EBC-4676-B8FF-E0AF978A268C}" type="presOf" srcId="{65DC873E-897D-433D-9120-E4E8252E3464}" destId="{424F4067-D8BB-48C6-9808-F81F05804206}" srcOrd="1" destOrd="0" presId="urn:microsoft.com/office/officeart/2005/8/layout/orgChart1"/>
    <dgm:cxn modelId="{9540FF4E-76A1-4F79-92BD-F2E3ECD43926}" type="presOf" srcId="{0D74438D-83A6-4DFC-B066-5D2EF9276D91}" destId="{521233A8-D573-4B60-A683-EDF0D588D1B0}" srcOrd="0" destOrd="0" presId="urn:microsoft.com/office/officeart/2005/8/layout/orgChart1"/>
    <dgm:cxn modelId="{ECB686FA-5660-4CEB-B5A9-09FDB3A2F019}" type="presParOf" srcId="{398E9BCF-C768-462A-9BB8-E58EF94C9791}" destId="{46FF936B-8170-4A2A-913C-17A225348A7D}" srcOrd="0" destOrd="0" presId="urn:microsoft.com/office/officeart/2005/8/layout/orgChart1"/>
    <dgm:cxn modelId="{DA4D0011-FBB4-4480-BB40-26903A060328}" type="presParOf" srcId="{46FF936B-8170-4A2A-913C-17A225348A7D}" destId="{DA9A4186-AF46-462D-AE70-284078B8564B}" srcOrd="0" destOrd="0" presId="urn:microsoft.com/office/officeart/2005/8/layout/orgChart1"/>
    <dgm:cxn modelId="{53D60A97-C2AC-4D5C-BCE5-24E1741458F4}" type="presParOf" srcId="{DA9A4186-AF46-462D-AE70-284078B8564B}" destId="{5197FF8D-FC58-4291-A413-97D4B3FFC8DA}" srcOrd="0" destOrd="0" presId="urn:microsoft.com/office/officeart/2005/8/layout/orgChart1"/>
    <dgm:cxn modelId="{D9A7A91C-B9F4-41AF-8504-A7BA089D1E0A}" type="presParOf" srcId="{DA9A4186-AF46-462D-AE70-284078B8564B}" destId="{970D5FEC-0549-4E44-BEF7-3C055DD5E0EB}" srcOrd="1" destOrd="0" presId="urn:microsoft.com/office/officeart/2005/8/layout/orgChart1"/>
    <dgm:cxn modelId="{CE153B01-BBB5-4126-81AC-ECBC1E6B26EA}" type="presParOf" srcId="{46FF936B-8170-4A2A-913C-17A225348A7D}" destId="{0BF78FBB-D317-446E-9AD3-DB8B8F00D801}" srcOrd="1" destOrd="0" presId="urn:microsoft.com/office/officeart/2005/8/layout/orgChart1"/>
    <dgm:cxn modelId="{A498A1C3-B7F5-4190-8E17-B9F1D3C0ECC6}" type="presParOf" srcId="{0BF78FBB-D317-446E-9AD3-DB8B8F00D801}" destId="{7BC8F406-0DC9-45A7-B698-8C9D764F5402}" srcOrd="0" destOrd="0" presId="urn:microsoft.com/office/officeart/2005/8/layout/orgChart1"/>
    <dgm:cxn modelId="{395586B5-DFBA-4D8E-B86A-35A3F3E6C64B}" type="presParOf" srcId="{0BF78FBB-D317-446E-9AD3-DB8B8F00D801}" destId="{78526B1E-FFBC-43D5-ACAB-EF8344C937F6}" srcOrd="1" destOrd="0" presId="urn:microsoft.com/office/officeart/2005/8/layout/orgChart1"/>
    <dgm:cxn modelId="{FB9373A8-BBDB-4113-8D1B-D9F7A066C008}" type="presParOf" srcId="{78526B1E-FFBC-43D5-ACAB-EF8344C937F6}" destId="{2A128AAE-DE8B-4E5D-AB0C-7841B607A826}" srcOrd="0" destOrd="0" presId="urn:microsoft.com/office/officeart/2005/8/layout/orgChart1"/>
    <dgm:cxn modelId="{B340786C-8CCA-499C-819D-72168BAA6422}" type="presParOf" srcId="{2A128AAE-DE8B-4E5D-AB0C-7841B607A826}" destId="{5AEC8923-A78B-4727-9ED7-DE90C1D72093}" srcOrd="0" destOrd="0" presId="urn:microsoft.com/office/officeart/2005/8/layout/orgChart1"/>
    <dgm:cxn modelId="{4F0BC9D1-47C8-4901-A0D4-332F4876C064}" type="presParOf" srcId="{2A128AAE-DE8B-4E5D-AB0C-7841B607A826}" destId="{BAAD8B09-C8BE-4781-80CB-CD68113FA53E}" srcOrd="1" destOrd="0" presId="urn:microsoft.com/office/officeart/2005/8/layout/orgChart1"/>
    <dgm:cxn modelId="{9EEE3113-65AE-491E-9A5C-5E20406E841D}" type="presParOf" srcId="{78526B1E-FFBC-43D5-ACAB-EF8344C937F6}" destId="{C90D97AC-CE11-49EE-AAEC-588FFD175229}" srcOrd="1" destOrd="0" presId="urn:microsoft.com/office/officeart/2005/8/layout/orgChart1"/>
    <dgm:cxn modelId="{C0B0708F-9373-48B6-8A3A-8E87DA7A57BF}" type="presParOf" srcId="{C90D97AC-CE11-49EE-AAEC-588FFD175229}" destId="{32A11FE5-1E99-4AA1-95A6-D2087475E7BF}" srcOrd="0" destOrd="0" presId="urn:microsoft.com/office/officeart/2005/8/layout/orgChart1"/>
    <dgm:cxn modelId="{0F46ECEE-F209-4DA0-BCE8-0D1812FBC9AC}" type="presParOf" srcId="{C90D97AC-CE11-49EE-AAEC-588FFD175229}" destId="{26F1DFD7-6176-45F3-8276-11ADA6DCB685}" srcOrd="1" destOrd="0" presId="urn:microsoft.com/office/officeart/2005/8/layout/orgChart1"/>
    <dgm:cxn modelId="{836BE48B-59D3-4298-B394-9E4BE9D07777}" type="presParOf" srcId="{26F1DFD7-6176-45F3-8276-11ADA6DCB685}" destId="{53453E6A-98E0-4161-91AD-E61F8BA68171}" srcOrd="0" destOrd="0" presId="urn:microsoft.com/office/officeart/2005/8/layout/orgChart1"/>
    <dgm:cxn modelId="{C9BE6310-2837-4A10-95FF-C476732230DC}" type="presParOf" srcId="{53453E6A-98E0-4161-91AD-E61F8BA68171}" destId="{06706562-2085-4C5D-9F32-D879389E4EC6}" srcOrd="0" destOrd="0" presId="urn:microsoft.com/office/officeart/2005/8/layout/orgChart1"/>
    <dgm:cxn modelId="{74D23460-FA88-4B74-873B-C44CEA43F05F}" type="presParOf" srcId="{53453E6A-98E0-4161-91AD-E61F8BA68171}" destId="{F8054045-13C6-4793-90B2-93AE757394FE}" srcOrd="1" destOrd="0" presId="urn:microsoft.com/office/officeart/2005/8/layout/orgChart1"/>
    <dgm:cxn modelId="{9FF4AD72-EE18-4D11-BC2E-1D8D688FDF57}" type="presParOf" srcId="{26F1DFD7-6176-45F3-8276-11ADA6DCB685}" destId="{971B6693-7855-404E-BAE7-F8CD561D6D63}" srcOrd="1" destOrd="0" presId="urn:microsoft.com/office/officeart/2005/8/layout/orgChart1"/>
    <dgm:cxn modelId="{67E7E2AE-0BB0-488F-9B53-2873D12EECBC}" type="presParOf" srcId="{971B6693-7855-404E-BAE7-F8CD561D6D63}" destId="{698508D6-C93E-4E49-A7B9-B4DA6FBDF86C}" srcOrd="0" destOrd="0" presId="urn:microsoft.com/office/officeart/2005/8/layout/orgChart1"/>
    <dgm:cxn modelId="{67AA3AD1-5662-49EC-B972-3C9955230A8A}" type="presParOf" srcId="{971B6693-7855-404E-BAE7-F8CD561D6D63}" destId="{B15BDACE-8935-4836-A28A-52D1BEBC4661}" srcOrd="1" destOrd="0" presId="urn:microsoft.com/office/officeart/2005/8/layout/orgChart1"/>
    <dgm:cxn modelId="{4C1D4903-DB8C-4B41-99A8-BF814E2A4082}" type="presParOf" srcId="{B15BDACE-8935-4836-A28A-52D1BEBC4661}" destId="{0936F836-F7D1-4462-A72D-0A876A9DCC62}" srcOrd="0" destOrd="0" presId="urn:microsoft.com/office/officeart/2005/8/layout/orgChart1"/>
    <dgm:cxn modelId="{1918D0DA-4CF0-4E6F-8704-C258BA16B244}" type="presParOf" srcId="{0936F836-F7D1-4462-A72D-0A876A9DCC62}" destId="{366FD547-57D6-420F-8969-85C85847F670}" srcOrd="0" destOrd="0" presId="urn:microsoft.com/office/officeart/2005/8/layout/orgChart1"/>
    <dgm:cxn modelId="{327C2014-2144-4361-BE90-15350042D55A}" type="presParOf" srcId="{0936F836-F7D1-4462-A72D-0A876A9DCC62}" destId="{EB94A250-EE4C-4630-9677-2500B1056E16}" srcOrd="1" destOrd="0" presId="urn:microsoft.com/office/officeart/2005/8/layout/orgChart1"/>
    <dgm:cxn modelId="{64BB0681-1C21-473B-BE9F-569A07BF23A1}" type="presParOf" srcId="{B15BDACE-8935-4836-A28A-52D1BEBC4661}" destId="{BC0E8686-C84C-4FAD-A7B0-739E912D23F8}" srcOrd="1" destOrd="0" presId="urn:microsoft.com/office/officeart/2005/8/layout/orgChart1"/>
    <dgm:cxn modelId="{B3272314-F54B-4168-BAC4-A4D7FBA9A006}" type="presParOf" srcId="{B15BDACE-8935-4836-A28A-52D1BEBC4661}" destId="{6FA85FFE-0E29-4D3A-8559-9333DFFC306A}" srcOrd="2" destOrd="0" presId="urn:microsoft.com/office/officeart/2005/8/layout/orgChart1"/>
    <dgm:cxn modelId="{685F2C70-CF46-4413-A0EF-5EA57B0262A7}" type="presParOf" srcId="{26F1DFD7-6176-45F3-8276-11ADA6DCB685}" destId="{290416AC-1979-4604-9930-F25DD712C390}" srcOrd="2" destOrd="0" presId="urn:microsoft.com/office/officeart/2005/8/layout/orgChart1"/>
    <dgm:cxn modelId="{67068C5E-CD43-4BE0-AF6C-D07A12A18D1B}" type="presParOf" srcId="{78526B1E-FFBC-43D5-ACAB-EF8344C937F6}" destId="{CD5488BC-8F6C-4A2E-9431-200F8E798A8F}" srcOrd="2" destOrd="0" presId="urn:microsoft.com/office/officeart/2005/8/layout/orgChart1"/>
    <dgm:cxn modelId="{A5B4BB74-6574-4DEC-BD48-9451827C038B}" type="presParOf" srcId="{0BF78FBB-D317-446E-9AD3-DB8B8F00D801}" destId="{E3F6FB8C-F2C7-4BA2-AA1B-64E02C01B378}" srcOrd="2" destOrd="0" presId="urn:microsoft.com/office/officeart/2005/8/layout/orgChart1"/>
    <dgm:cxn modelId="{B796187E-DC8A-48DF-9103-865CA08AE3B7}" type="presParOf" srcId="{0BF78FBB-D317-446E-9AD3-DB8B8F00D801}" destId="{2CDBDA91-9AC1-4682-8296-1038470C176C}" srcOrd="3" destOrd="0" presId="urn:microsoft.com/office/officeart/2005/8/layout/orgChart1"/>
    <dgm:cxn modelId="{8A0E0FFD-6FFE-439A-9051-CB957EA5073C}" type="presParOf" srcId="{2CDBDA91-9AC1-4682-8296-1038470C176C}" destId="{1B3E4DFD-B199-410F-8F3C-2FD61C72253D}" srcOrd="0" destOrd="0" presId="urn:microsoft.com/office/officeart/2005/8/layout/orgChart1"/>
    <dgm:cxn modelId="{E84A18AE-590B-426D-A06B-901AA5043296}" type="presParOf" srcId="{1B3E4DFD-B199-410F-8F3C-2FD61C72253D}" destId="{8A7301E4-6839-4A0B-BBD5-6C11DD40797D}" srcOrd="0" destOrd="0" presId="urn:microsoft.com/office/officeart/2005/8/layout/orgChart1"/>
    <dgm:cxn modelId="{DC56281F-1A03-44B7-8A45-C92C9AB151D9}" type="presParOf" srcId="{1B3E4DFD-B199-410F-8F3C-2FD61C72253D}" destId="{FF0CBA67-A219-4313-B4DC-C4682C06DE52}" srcOrd="1" destOrd="0" presId="urn:microsoft.com/office/officeart/2005/8/layout/orgChart1"/>
    <dgm:cxn modelId="{F28BB7FB-C244-4E62-AF52-BCD7BFB3FD42}" type="presParOf" srcId="{2CDBDA91-9AC1-4682-8296-1038470C176C}" destId="{4AA8A3AB-1233-4958-8CFE-0A4B7E231FF3}" srcOrd="1" destOrd="0" presId="urn:microsoft.com/office/officeart/2005/8/layout/orgChart1"/>
    <dgm:cxn modelId="{0B715C84-BB53-439B-9BAD-AB7913C54ADC}" type="presParOf" srcId="{4AA8A3AB-1233-4958-8CFE-0A4B7E231FF3}" destId="{6DF3FE2B-F1DA-4413-8913-2B9E5EE9BE1A}" srcOrd="0" destOrd="0" presId="urn:microsoft.com/office/officeart/2005/8/layout/orgChart1"/>
    <dgm:cxn modelId="{539ABD5F-D489-42CE-949E-1043B138BC4E}" type="presParOf" srcId="{4AA8A3AB-1233-4958-8CFE-0A4B7E231FF3}" destId="{54B3288E-B666-4374-923C-D90F5AEE32CD}" srcOrd="1" destOrd="0" presId="urn:microsoft.com/office/officeart/2005/8/layout/orgChart1"/>
    <dgm:cxn modelId="{A01E58AA-EAAA-4C79-8759-02D25A90BF1C}" type="presParOf" srcId="{54B3288E-B666-4374-923C-D90F5AEE32CD}" destId="{D06B4687-D0A7-4E1D-AC27-97BC1EDCED1C}" srcOrd="0" destOrd="0" presId="urn:microsoft.com/office/officeart/2005/8/layout/orgChart1"/>
    <dgm:cxn modelId="{DF19004B-5B64-41E1-9C3C-8D4304CF7879}" type="presParOf" srcId="{D06B4687-D0A7-4E1D-AC27-97BC1EDCED1C}" destId="{14C0F6B3-7708-4CAD-B8EC-E9A689648763}" srcOrd="0" destOrd="0" presId="urn:microsoft.com/office/officeart/2005/8/layout/orgChart1"/>
    <dgm:cxn modelId="{AEF9C18D-51EE-435B-B3E4-6DD70F7FB9C7}" type="presParOf" srcId="{D06B4687-D0A7-4E1D-AC27-97BC1EDCED1C}" destId="{23F6EC11-8BB0-4EB2-9B75-2CB751E9AFFE}" srcOrd="1" destOrd="0" presId="urn:microsoft.com/office/officeart/2005/8/layout/orgChart1"/>
    <dgm:cxn modelId="{52098B2E-FDF3-4DBA-8387-5A3E82B54887}" type="presParOf" srcId="{54B3288E-B666-4374-923C-D90F5AEE32CD}" destId="{8DAC05B8-3347-401A-AC34-1F37CAA9A202}" srcOrd="1" destOrd="0" presId="urn:microsoft.com/office/officeart/2005/8/layout/orgChart1"/>
    <dgm:cxn modelId="{0674B370-FD6C-4C9E-A81F-BE52FE1DDFC9}" type="presParOf" srcId="{8DAC05B8-3347-401A-AC34-1F37CAA9A202}" destId="{25490263-AA39-456D-B8BE-13FAC661C19E}" srcOrd="0" destOrd="0" presId="urn:microsoft.com/office/officeart/2005/8/layout/orgChart1"/>
    <dgm:cxn modelId="{EA0E4BC4-DFE8-4524-B948-7D72CD394961}" type="presParOf" srcId="{8DAC05B8-3347-401A-AC34-1F37CAA9A202}" destId="{A7623238-7A87-444A-BECE-36F25C02AB04}" srcOrd="1" destOrd="0" presId="urn:microsoft.com/office/officeart/2005/8/layout/orgChart1"/>
    <dgm:cxn modelId="{D6CC6FFC-C645-4CB4-8964-F66C422B3850}" type="presParOf" srcId="{A7623238-7A87-444A-BECE-36F25C02AB04}" destId="{F128C1E1-4636-499A-8DDA-C929293BCC95}" srcOrd="0" destOrd="0" presId="urn:microsoft.com/office/officeart/2005/8/layout/orgChart1"/>
    <dgm:cxn modelId="{BB598B6A-9773-4A8D-B0EA-5FE5129B6934}" type="presParOf" srcId="{F128C1E1-4636-499A-8DDA-C929293BCC95}" destId="{09CA3129-8B94-4B14-958F-A7CA4D18A9B9}" srcOrd="0" destOrd="0" presId="urn:microsoft.com/office/officeart/2005/8/layout/orgChart1"/>
    <dgm:cxn modelId="{4AD7B4E7-20BA-46D2-8BE5-490510DE9172}" type="presParOf" srcId="{F128C1E1-4636-499A-8DDA-C929293BCC95}" destId="{A135482C-7C3E-4A3A-AB63-C361DE474E45}" srcOrd="1" destOrd="0" presId="urn:microsoft.com/office/officeart/2005/8/layout/orgChart1"/>
    <dgm:cxn modelId="{59A0CFE9-FC24-4660-8B13-233150C18534}" type="presParOf" srcId="{A7623238-7A87-444A-BECE-36F25C02AB04}" destId="{CF744B91-7569-4802-944A-D4867A059610}" srcOrd="1" destOrd="0" presId="urn:microsoft.com/office/officeart/2005/8/layout/orgChart1"/>
    <dgm:cxn modelId="{134EC042-F54B-42E3-AB78-7598B1F934EB}" type="presParOf" srcId="{CF744B91-7569-4802-944A-D4867A059610}" destId="{7A2DCF16-4793-4F62-8615-1A86A0383840}" srcOrd="0" destOrd="0" presId="urn:microsoft.com/office/officeart/2005/8/layout/orgChart1"/>
    <dgm:cxn modelId="{567CCD13-AF84-4580-AD51-96B1B5B399C0}" type="presParOf" srcId="{CF744B91-7569-4802-944A-D4867A059610}" destId="{E4FCECBF-E460-48FA-A15E-DCF2DC70EEBD}" srcOrd="1" destOrd="0" presId="urn:microsoft.com/office/officeart/2005/8/layout/orgChart1"/>
    <dgm:cxn modelId="{D7C47885-D888-4C62-B793-A353FDE154D5}" type="presParOf" srcId="{E4FCECBF-E460-48FA-A15E-DCF2DC70EEBD}" destId="{1C00396D-C161-4B99-9732-5D9ED84D37CB}" srcOrd="0" destOrd="0" presId="urn:microsoft.com/office/officeart/2005/8/layout/orgChart1"/>
    <dgm:cxn modelId="{F1AFBD8F-829E-4A5E-A3DA-6C9C87C2906A}" type="presParOf" srcId="{1C00396D-C161-4B99-9732-5D9ED84D37CB}" destId="{1B6B3A2C-2B86-46D8-8C2F-D122B2AA83BF}" srcOrd="0" destOrd="0" presId="urn:microsoft.com/office/officeart/2005/8/layout/orgChart1"/>
    <dgm:cxn modelId="{A5A12514-42AC-4C9F-8095-49FE9581FD15}" type="presParOf" srcId="{1C00396D-C161-4B99-9732-5D9ED84D37CB}" destId="{03DFBC13-575B-44C5-9411-8C49A89188ED}" srcOrd="1" destOrd="0" presId="urn:microsoft.com/office/officeart/2005/8/layout/orgChart1"/>
    <dgm:cxn modelId="{942ED60A-A4F2-498B-B9B2-F097AC7B7E96}" type="presParOf" srcId="{E4FCECBF-E460-48FA-A15E-DCF2DC70EEBD}" destId="{E40509C5-A16B-48FF-B1F2-E683DC65CAEC}" srcOrd="1" destOrd="0" presId="urn:microsoft.com/office/officeart/2005/8/layout/orgChart1"/>
    <dgm:cxn modelId="{FE6CB40E-B632-4E63-ADE6-4097EC86A6A6}" type="presParOf" srcId="{E4FCECBF-E460-48FA-A15E-DCF2DC70EEBD}" destId="{F075DDE6-0972-41D9-B707-D8687CA19B0A}" srcOrd="2" destOrd="0" presId="urn:microsoft.com/office/officeart/2005/8/layout/orgChart1"/>
    <dgm:cxn modelId="{2496CC32-1DEC-4C3D-BCFF-974D3102C30B}" type="presParOf" srcId="{A7623238-7A87-444A-BECE-36F25C02AB04}" destId="{EEB5EBBD-A7A9-4BB5-A632-DFF511FD3D0A}" srcOrd="2" destOrd="0" presId="urn:microsoft.com/office/officeart/2005/8/layout/orgChart1"/>
    <dgm:cxn modelId="{F41B199A-B92A-44CF-B8FD-721ED6ABC62E}" type="presParOf" srcId="{54B3288E-B666-4374-923C-D90F5AEE32CD}" destId="{0DBA6529-6650-4132-ACCC-7D7D69DC460D}" srcOrd="2" destOrd="0" presId="urn:microsoft.com/office/officeart/2005/8/layout/orgChart1"/>
    <dgm:cxn modelId="{0AA6568E-2DDA-4B20-9F74-FC1FC57B52E0}" type="presParOf" srcId="{2CDBDA91-9AC1-4682-8296-1038470C176C}" destId="{9E88C892-72D1-478E-AEF5-D0D8B808C5FF}" srcOrd="2" destOrd="0" presId="urn:microsoft.com/office/officeart/2005/8/layout/orgChart1"/>
    <dgm:cxn modelId="{F5189F71-F9D6-42A7-B5C2-58BDF20C6243}" type="presParOf" srcId="{0BF78FBB-D317-446E-9AD3-DB8B8F00D801}" destId="{E68009D5-0F24-495C-B17E-71B0D4EE1A02}" srcOrd="4" destOrd="0" presId="urn:microsoft.com/office/officeart/2005/8/layout/orgChart1"/>
    <dgm:cxn modelId="{D50A41FC-72F3-413F-B640-077DA0881A46}" type="presParOf" srcId="{0BF78FBB-D317-446E-9AD3-DB8B8F00D801}" destId="{7DA6822D-491A-44ED-B51B-1166D53CAABE}" srcOrd="5" destOrd="0" presId="urn:microsoft.com/office/officeart/2005/8/layout/orgChart1"/>
    <dgm:cxn modelId="{85365F3F-AF99-4675-8A92-9DCA678760EB}" type="presParOf" srcId="{7DA6822D-491A-44ED-B51B-1166D53CAABE}" destId="{9CEF4D66-75FA-4B91-BFA0-248F2700F391}" srcOrd="0" destOrd="0" presId="urn:microsoft.com/office/officeart/2005/8/layout/orgChart1"/>
    <dgm:cxn modelId="{ABD2C1D5-F7D0-4B4C-B85C-88B58FF91499}" type="presParOf" srcId="{9CEF4D66-75FA-4B91-BFA0-248F2700F391}" destId="{7E3A5B43-1594-4AEF-A8C9-9DDF3845EB77}" srcOrd="0" destOrd="0" presId="urn:microsoft.com/office/officeart/2005/8/layout/orgChart1"/>
    <dgm:cxn modelId="{07D81474-9785-4FA5-84A1-E0E1FD563FCD}" type="presParOf" srcId="{9CEF4D66-75FA-4B91-BFA0-248F2700F391}" destId="{A814F93A-BA38-4945-8DB7-3A338E9C09C0}" srcOrd="1" destOrd="0" presId="urn:microsoft.com/office/officeart/2005/8/layout/orgChart1"/>
    <dgm:cxn modelId="{58462AB9-8270-4B1D-8165-0C8AE79B14A9}" type="presParOf" srcId="{7DA6822D-491A-44ED-B51B-1166D53CAABE}" destId="{3824A08B-6BDF-4345-AF53-B824C1AADBA0}" srcOrd="1" destOrd="0" presId="urn:microsoft.com/office/officeart/2005/8/layout/orgChart1"/>
    <dgm:cxn modelId="{A990491F-F79F-4C8C-B068-AF4C89BCD162}" type="presParOf" srcId="{3824A08B-6BDF-4345-AF53-B824C1AADBA0}" destId="{DFCF65C2-1D4E-4203-8483-263873D3B705}" srcOrd="0" destOrd="0" presId="urn:microsoft.com/office/officeart/2005/8/layout/orgChart1"/>
    <dgm:cxn modelId="{3F891632-6DB4-4F17-89CD-939C42BBB194}" type="presParOf" srcId="{3824A08B-6BDF-4345-AF53-B824C1AADBA0}" destId="{A5DC6E14-2DD8-4A4D-9B0E-11E200E26A73}" srcOrd="1" destOrd="0" presId="urn:microsoft.com/office/officeart/2005/8/layout/orgChart1"/>
    <dgm:cxn modelId="{48CE3ADF-3223-45E5-89F5-5B0725FB5AEB}" type="presParOf" srcId="{A5DC6E14-2DD8-4A4D-9B0E-11E200E26A73}" destId="{92B72518-CFA3-4035-9BF7-97ECA93F9B62}" srcOrd="0" destOrd="0" presId="urn:microsoft.com/office/officeart/2005/8/layout/orgChart1"/>
    <dgm:cxn modelId="{45A1B9A8-7D82-4EAC-8507-40A7E99F5345}" type="presParOf" srcId="{92B72518-CFA3-4035-9BF7-97ECA93F9B62}" destId="{65C0A499-92EB-45F2-949A-1B73F4D033F2}" srcOrd="0" destOrd="0" presId="urn:microsoft.com/office/officeart/2005/8/layout/orgChart1"/>
    <dgm:cxn modelId="{F469DA0A-9A90-4106-B92C-966E8CBAC856}" type="presParOf" srcId="{92B72518-CFA3-4035-9BF7-97ECA93F9B62}" destId="{98E166B0-531E-43B7-8A97-C6036663D8E6}" srcOrd="1" destOrd="0" presId="urn:microsoft.com/office/officeart/2005/8/layout/orgChart1"/>
    <dgm:cxn modelId="{27E94576-E8B9-4476-B731-6276905155E4}" type="presParOf" srcId="{A5DC6E14-2DD8-4A4D-9B0E-11E200E26A73}" destId="{4B08A774-F3F2-47E7-B366-6D92574A5B17}" srcOrd="1" destOrd="0" presId="urn:microsoft.com/office/officeart/2005/8/layout/orgChart1"/>
    <dgm:cxn modelId="{B4C09C2A-72E4-4B14-AAFD-25A41D3B4716}" type="presParOf" srcId="{4B08A774-F3F2-47E7-B366-6D92574A5B17}" destId="{4BA0D1F8-7A76-45FB-9F8B-A143F3689240}" srcOrd="0" destOrd="0" presId="urn:microsoft.com/office/officeart/2005/8/layout/orgChart1"/>
    <dgm:cxn modelId="{63AB7703-0FA9-490B-9931-7FCD478759B7}" type="presParOf" srcId="{4B08A774-F3F2-47E7-B366-6D92574A5B17}" destId="{12AEE908-2F1F-4FE8-84C2-1496551E89D4}" srcOrd="1" destOrd="0" presId="urn:microsoft.com/office/officeart/2005/8/layout/orgChart1"/>
    <dgm:cxn modelId="{ADEFC587-20D0-49A6-B890-9FD40A5611E2}" type="presParOf" srcId="{12AEE908-2F1F-4FE8-84C2-1496551E89D4}" destId="{2AF134DD-D125-43F2-BD07-897080FFDF25}" srcOrd="0" destOrd="0" presId="urn:microsoft.com/office/officeart/2005/8/layout/orgChart1"/>
    <dgm:cxn modelId="{5AEBD5D5-A723-44B8-A9BC-0DBF14A1BBD9}" type="presParOf" srcId="{2AF134DD-D125-43F2-BD07-897080FFDF25}" destId="{C991FD64-A9E4-4E4E-9AC8-B5BEFA41DAF1}" srcOrd="0" destOrd="0" presId="urn:microsoft.com/office/officeart/2005/8/layout/orgChart1"/>
    <dgm:cxn modelId="{2611D160-EBA0-4D75-93BE-EDEE085E73CC}" type="presParOf" srcId="{2AF134DD-D125-43F2-BD07-897080FFDF25}" destId="{FBAD4223-2F15-4A1F-8B72-E4CEE4217AF4}" srcOrd="1" destOrd="0" presId="urn:microsoft.com/office/officeart/2005/8/layout/orgChart1"/>
    <dgm:cxn modelId="{6FD3FEDE-97DE-4CDC-8286-021E2EFA0E01}" type="presParOf" srcId="{12AEE908-2F1F-4FE8-84C2-1496551E89D4}" destId="{C5A3C17C-C0D3-4D9C-B316-2F4236677811}" srcOrd="1" destOrd="0" presId="urn:microsoft.com/office/officeart/2005/8/layout/orgChart1"/>
    <dgm:cxn modelId="{C2D1650F-4674-40C6-91B0-AD0855360593}" type="presParOf" srcId="{C5A3C17C-C0D3-4D9C-B316-2F4236677811}" destId="{A7AD82A4-DE85-49DA-9FB3-F67B7B8D78A5}" srcOrd="0" destOrd="0" presId="urn:microsoft.com/office/officeart/2005/8/layout/orgChart1"/>
    <dgm:cxn modelId="{0845A1D0-FB5D-4A1D-92F0-DF898CFA9210}" type="presParOf" srcId="{C5A3C17C-C0D3-4D9C-B316-2F4236677811}" destId="{779B2294-B781-4D5B-B330-79D0474C7B61}" srcOrd="1" destOrd="0" presId="urn:microsoft.com/office/officeart/2005/8/layout/orgChart1"/>
    <dgm:cxn modelId="{349233AC-DB36-4EEA-B905-4955D914DCEC}" type="presParOf" srcId="{779B2294-B781-4D5B-B330-79D0474C7B61}" destId="{A0328596-337B-4BE9-B736-7ACA1C28382F}" srcOrd="0" destOrd="0" presId="urn:microsoft.com/office/officeart/2005/8/layout/orgChart1"/>
    <dgm:cxn modelId="{11E30CF5-B797-4990-B6E5-5216E2DEE0F2}" type="presParOf" srcId="{A0328596-337B-4BE9-B736-7ACA1C28382F}" destId="{4114D1DD-1AAF-41F7-A7F7-918767AF0406}" srcOrd="0" destOrd="0" presId="urn:microsoft.com/office/officeart/2005/8/layout/orgChart1"/>
    <dgm:cxn modelId="{65B7C35E-B33D-4C2B-91E7-2A6A1A191289}" type="presParOf" srcId="{A0328596-337B-4BE9-B736-7ACA1C28382F}" destId="{27E7EFC2-7741-4D36-8855-CCF2FE2CB825}" srcOrd="1" destOrd="0" presId="urn:microsoft.com/office/officeart/2005/8/layout/orgChart1"/>
    <dgm:cxn modelId="{3350116E-4A93-45F3-B9A1-7410B041EF79}" type="presParOf" srcId="{779B2294-B781-4D5B-B330-79D0474C7B61}" destId="{1C2021DE-003B-4122-95EF-CCCE5415F5ED}" srcOrd="1" destOrd="0" presId="urn:microsoft.com/office/officeart/2005/8/layout/orgChart1"/>
    <dgm:cxn modelId="{4FC48D47-51F5-403D-9A73-7774F51AB105}" type="presParOf" srcId="{779B2294-B781-4D5B-B330-79D0474C7B61}" destId="{089A053B-8226-40C2-BD9B-F27A5947ACD4}" srcOrd="2" destOrd="0" presId="urn:microsoft.com/office/officeart/2005/8/layout/orgChart1"/>
    <dgm:cxn modelId="{E6488097-1C0B-4B8C-B6C9-9B8C19FD9E11}" type="presParOf" srcId="{12AEE908-2F1F-4FE8-84C2-1496551E89D4}" destId="{C3F37AC0-70D0-4F54-A65E-747CB71F0DAB}" srcOrd="2" destOrd="0" presId="urn:microsoft.com/office/officeart/2005/8/layout/orgChart1"/>
    <dgm:cxn modelId="{4D17C720-B985-40DC-BA41-BCA700B0A6B7}" type="presParOf" srcId="{A5DC6E14-2DD8-4A4D-9B0E-11E200E26A73}" destId="{B3300620-D487-4901-A86B-5783BDDC333F}" srcOrd="2" destOrd="0" presId="urn:microsoft.com/office/officeart/2005/8/layout/orgChart1"/>
    <dgm:cxn modelId="{B06DF948-7595-42E2-80BE-2F1D7E60BA54}" type="presParOf" srcId="{7DA6822D-491A-44ED-B51B-1166D53CAABE}" destId="{574C65FD-5127-4961-9183-6E86A88ECCD2}" srcOrd="2" destOrd="0" presId="urn:microsoft.com/office/officeart/2005/8/layout/orgChart1"/>
    <dgm:cxn modelId="{8AC9E03F-BAA8-4CCC-B4CE-A75EAE16AC24}" type="presParOf" srcId="{0BF78FBB-D317-446E-9AD3-DB8B8F00D801}" destId="{7A7136E1-CBCF-4CD9-86AB-8BC82BD8452F}" srcOrd="6" destOrd="0" presId="urn:microsoft.com/office/officeart/2005/8/layout/orgChart1"/>
    <dgm:cxn modelId="{2C9CF72F-090D-4D30-B8E2-86522827C01B}" type="presParOf" srcId="{0BF78FBB-D317-446E-9AD3-DB8B8F00D801}" destId="{8606E31A-87FF-4F89-A1A8-D4BFAFE6E5CF}" srcOrd="7" destOrd="0" presId="urn:microsoft.com/office/officeart/2005/8/layout/orgChart1"/>
    <dgm:cxn modelId="{3973B5C2-3B88-4942-9A3E-CEF6078490BC}" type="presParOf" srcId="{8606E31A-87FF-4F89-A1A8-D4BFAFE6E5CF}" destId="{39A21E7D-5FD2-4C1B-AC1E-B463EE3413BD}" srcOrd="0" destOrd="0" presId="urn:microsoft.com/office/officeart/2005/8/layout/orgChart1"/>
    <dgm:cxn modelId="{7C05F720-4694-4692-AE65-DC91682107A0}" type="presParOf" srcId="{39A21E7D-5FD2-4C1B-AC1E-B463EE3413BD}" destId="{F64A5C08-9C7D-4E71-AB14-8CF1F43E6643}" srcOrd="0" destOrd="0" presId="urn:microsoft.com/office/officeart/2005/8/layout/orgChart1"/>
    <dgm:cxn modelId="{56E9DD6A-3A86-488D-8F3A-BCCB6734C387}" type="presParOf" srcId="{39A21E7D-5FD2-4C1B-AC1E-B463EE3413BD}" destId="{F6DBE938-79ED-4BB6-B601-50EF87574107}" srcOrd="1" destOrd="0" presId="urn:microsoft.com/office/officeart/2005/8/layout/orgChart1"/>
    <dgm:cxn modelId="{BFDD75D3-BBA8-489C-A0F1-A6F55178B1C5}" type="presParOf" srcId="{8606E31A-87FF-4F89-A1A8-D4BFAFE6E5CF}" destId="{C7C486AB-F20B-4403-937C-53D534A14EF0}" srcOrd="1" destOrd="0" presId="urn:microsoft.com/office/officeart/2005/8/layout/orgChart1"/>
    <dgm:cxn modelId="{0E7F4435-8123-4787-B9B3-5DB74B5502F0}" type="presParOf" srcId="{C7C486AB-F20B-4403-937C-53D534A14EF0}" destId="{1DDDFFC9-E5A8-4087-9E95-1FB681DF4CC5}" srcOrd="0" destOrd="0" presId="urn:microsoft.com/office/officeart/2005/8/layout/orgChart1"/>
    <dgm:cxn modelId="{C0DA226C-EF21-4D82-B08A-AD4CDFA3084B}" type="presParOf" srcId="{C7C486AB-F20B-4403-937C-53D534A14EF0}" destId="{74B48534-0830-4C78-8D0F-CEB92F1760D5}" srcOrd="1" destOrd="0" presId="urn:microsoft.com/office/officeart/2005/8/layout/orgChart1"/>
    <dgm:cxn modelId="{8776F42F-FD30-445F-B327-BFFA506DCD8A}" type="presParOf" srcId="{74B48534-0830-4C78-8D0F-CEB92F1760D5}" destId="{A1717F5A-B3B3-4867-9B2B-B647838EE0A5}" srcOrd="0" destOrd="0" presId="urn:microsoft.com/office/officeart/2005/8/layout/orgChart1"/>
    <dgm:cxn modelId="{269B1CEC-E79B-47AB-ADF7-53E76F1A5F50}" type="presParOf" srcId="{A1717F5A-B3B3-4867-9B2B-B647838EE0A5}" destId="{5FD5C512-6516-47ED-9F8C-384FE16B7384}" srcOrd="0" destOrd="0" presId="urn:microsoft.com/office/officeart/2005/8/layout/orgChart1"/>
    <dgm:cxn modelId="{D852BF57-7FD2-4ADA-9FFC-CC736E87879E}" type="presParOf" srcId="{A1717F5A-B3B3-4867-9B2B-B647838EE0A5}" destId="{B816DE43-F5B9-44F4-96FB-4400224641C9}" srcOrd="1" destOrd="0" presId="urn:microsoft.com/office/officeart/2005/8/layout/orgChart1"/>
    <dgm:cxn modelId="{9895B532-50D4-4E92-81D8-25B1458F3092}" type="presParOf" srcId="{74B48534-0830-4C78-8D0F-CEB92F1760D5}" destId="{9E1CC932-C84B-425A-9CA2-838019215862}" srcOrd="1" destOrd="0" presId="urn:microsoft.com/office/officeart/2005/8/layout/orgChart1"/>
    <dgm:cxn modelId="{885F91A7-1D44-4253-BDDC-C2E73D9D1CCD}" type="presParOf" srcId="{9E1CC932-C84B-425A-9CA2-838019215862}" destId="{521233A8-D573-4B60-A683-EDF0D588D1B0}" srcOrd="0" destOrd="0" presId="urn:microsoft.com/office/officeart/2005/8/layout/orgChart1"/>
    <dgm:cxn modelId="{F82E18ED-F7AD-4C83-973D-87633F127882}" type="presParOf" srcId="{9E1CC932-C84B-425A-9CA2-838019215862}" destId="{E0BD06EE-5594-42C7-BC30-731DAA94D2BA}" srcOrd="1" destOrd="0" presId="urn:microsoft.com/office/officeart/2005/8/layout/orgChart1"/>
    <dgm:cxn modelId="{AC85A2A8-990D-405A-928B-ECDE9462EAF0}" type="presParOf" srcId="{E0BD06EE-5594-42C7-BC30-731DAA94D2BA}" destId="{4ED81A1A-C4E5-4301-86B9-350A7D703552}" srcOrd="0" destOrd="0" presId="urn:microsoft.com/office/officeart/2005/8/layout/orgChart1"/>
    <dgm:cxn modelId="{DA5796D7-36DF-4F1D-BF63-50F8C2BBB47C}" type="presParOf" srcId="{4ED81A1A-C4E5-4301-86B9-350A7D703552}" destId="{B9693ECF-379B-46F1-BAA8-9600C9A06547}" srcOrd="0" destOrd="0" presId="urn:microsoft.com/office/officeart/2005/8/layout/orgChart1"/>
    <dgm:cxn modelId="{5C55A4E2-B1FB-408E-9668-A1615DC6E5E8}" type="presParOf" srcId="{4ED81A1A-C4E5-4301-86B9-350A7D703552}" destId="{424F4067-D8BB-48C6-9808-F81F05804206}" srcOrd="1" destOrd="0" presId="urn:microsoft.com/office/officeart/2005/8/layout/orgChart1"/>
    <dgm:cxn modelId="{685885A1-0642-43BD-9136-730404568620}" type="presParOf" srcId="{E0BD06EE-5594-42C7-BC30-731DAA94D2BA}" destId="{5DDC753C-8B00-497E-8252-D334A8C0BC7C}" srcOrd="1" destOrd="0" presId="urn:microsoft.com/office/officeart/2005/8/layout/orgChart1"/>
    <dgm:cxn modelId="{72F4A322-F654-4967-9481-3C7EC0572012}" type="presParOf" srcId="{E0BD06EE-5594-42C7-BC30-731DAA94D2BA}" destId="{0A103333-E84A-4D61-BD15-939EA6D9D10B}" srcOrd="2" destOrd="0" presId="urn:microsoft.com/office/officeart/2005/8/layout/orgChart1"/>
    <dgm:cxn modelId="{A632D1FC-89FF-41A7-BC68-4A9A424E5F20}" type="presParOf" srcId="{9E1CC932-C84B-425A-9CA2-838019215862}" destId="{12EC1DF9-C0B9-4358-AD1C-271BC88AAD04}" srcOrd="2" destOrd="0" presId="urn:microsoft.com/office/officeart/2005/8/layout/orgChart1"/>
    <dgm:cxn modelId="{D0E248ED-1B8D-45A5-9F23-647AA0876489}" type="presParOf" srcId="{9E1CC932-C84B-425A-9CA2-838019215862}" destId="{E5BE6DC1-0A8F-4F72-9252-2DA87A175637}" srcOrd="3" destOrd="0" presId="urn:microsoft.com/office/officeart/2005/8/layout/orgChart1"/>
    <dgm:cxn modelId="{A636532D-C4F3-4BE7-8315-DFC029062ABE}" type="presParOf" srcId="{E5BE6DC1-0A8F-4F72-9252-2DA87A175637}" destId="{43AF2A9B-D83F-4F77-8174-14C30D694409}" srcOrd="0" destOrd="0" presId="urn:microsoft.com/office/officeart/2005/8/layout/orgChart1"/>
    <dgm:cxn modelId="{8DABAE23-6C30-444B-BAC7-A8C938E8158B}" type="presParOf" srcId="{43AF2A9B-D83F-4F77-8174-14C30D694409}" destId="{45125ABD-33BD-40C4-AB3D-5B2FB9BE1271}" srcOrd="0" destOrd="0" presId="urn:microsoft.com/office/officeart/2005/8/layout/orgChart1"/>
    <dgm:cxn modelId="{186C903F-8F61-488E-B74F-10085BD62CCD}" type="presParOf" srcId="{43AF2A9B-D83F-4F77-8174-14C30D694409}" destId="{DCBC27F5-F150-43A1-9627-E35936BED7C3}" srcOrd="1" destOrd="0" presId="urn:microsoft.com/office/officeart/2005/8/layout/orgChart1"/>
    <dgm:cxn modelId="{9C8242C0-5366-4FB6-A9C7-410989084F2C}" type="presParOf" srcId="{E5BE6DC1-0A8F-4F72-9252-2DA87A175637}" destId="{0E7C9538-6B6D-483D-9F1F-8CCDFBDE41D4}" srcOrd="1" destOrd="0" presId="urn:microsoft.com/office/officeart/2005/8/layout/orgChart1"/>
    <dgm:cxn modelId="{A7014FCA-C294-4ABA-8E65-FA3424079197}" type="presParOf" srcId="{E5BE6DC1-0A8F-4F72-9252-2DA87A175637}" destId="{E5D9E7E1-66B4-4EB8-9FF5-7C30CA669C72}" srcOrd="2" destOrd="0" presId="urn:microsoft.com/office/officeart/2005/8/layout/orgChart1"/>
    <dgm:cxn modelId="{937132A1-00FA-4FBE-93B5-B37EB9DB7F49}" type="presParOf" srcId="{9E1CC932-C84B-425A-9CA2-838019215862}" destId="{13BFD89B-F024-46EC-82CB-922FA2F1BE4E}" srcOrd="4" destOrd="0" presId="urn:microsoft.com/office/officeart/2005/8/layout/orgChart1"/>
    <dgm:cxn modelId="{588FC9CF-66A8-480D-AD35-054627407DAB}" type="presParOf" srcId="{9E1CC932-C84B-425A-9CA2-838019215862}" destId="{B1AF9ECA-69F6-4BAC-89F7-85280CE6785C}" srcOrd="5" destOrd="0" presId="urn:microsoft.com/office/officeart/2005/8/layout/orgChart1"/>
    <dgm:cxn modelId="{9987A580-3371-4896-8286-D107AAA3E4BA}" type="presParOf" srcId="{B1AF9ECA-69F6-4BAC-89F7-85280CE6785C}" destId="{F8F118DC-5D29-4B48-B127-2D2520A38F69}" srcOrd="0" destOrd="0" presId="urn:microsoft.com/office/officeart/2005/8/layout/orgChart1"/>
    <dgm:cxn modelId="{F9699F03-131E-4AE5-A9FE-2A1956D2E4C8}" type="presParOf" srcId="{F8F118DC-5D29-4B48-B127-2D2520A38F69}" destId="{27581EA2-D022-49F0-8DFE-F2E741585E66}" srcOrd="0" destOrd="0" presId="urn:microsoft.com/office/officeart/2005/8/layout/orgChart1"/>
    <dgm:cxn modelId="{28B13061-8BB4-419E-B83F-2C95F7E0A5CC}" type="presParOf" srcId="{F8F118DC-5D29-4B48-B127-2D2520A38F69}" destId="{1DFF8F46-91E3-41A5-AE46-734B03F58C00}" srcOrd="1" destOrd="0" presId="urn:microsoft.com/office/officeart/2005/8/layout/orgChart1"/>
    <dgm:cxn modelId="{44C28152-0064-4902-A2AF-2B21B664C24C}" type="presParOf" srcId="{B1AF9ECA-69F6-4BAC-89F7-85280CE6785C}" destId="{66355B54-B227-4E62-891B-13B39B3781DA}" srcOrd="1" destOrd="0" presId="urn:microsoft.com/office/officeart/2005/8/layout/orgChart1"/>
    <dgm:cxn modelId="{5B33CA0C-B46D-4002-8F7B-E0F1F75753FD}" type="presParOf" srcId="{B1AF9ECA-69F6-4BAC-89F7-85280CE6785C}" destId="{0FCCB5A1-490D-45CB-8170-FC1AFCB66555}" srcOrd="2" destOrd="0" presId="urn:microsoft.com/office/officeart/2005/8/layout/orgChart1"/>
    <dgm:cxn modelId="{31F289A4-D99F-4466-80DC-7620697B140C}" type="presParOf" srcId="{74B48534-0830-4C78-8D0F-CEB92F1760D5}" destId="{018ED94A-44C2-4EE1-A693-1CE607805FA0}" srcOrd="2" destOrd="0" presId="urn:microsoft.com/office/officeart/2005/8/layout/orgChart1"/>
    <dgm:cxn modelId="{DBD0CC4F-F1F4-4020-92BE-E81087E09709}" type="presParOf" srcId="{8606E31A-87FF-4F89-A1A8-D4BFAFE6E5CF}" destId="{CF1DE82E-D3F6-45EB-9840-D791AA4DE707}" srcOrd="2" destOrd="0" presId="urn:microsoft.com/office/officeart/2005/8/layout/orgChart1"/>
    <dgm:cxn modelId="{2BD18750-22A4-4F78-B0D3-CA62A47B06E9}" type="presParOf" srcId="{46FF936B-8170-4A2A-913C-17A225348A7D}" destId="{37666F81-7E92-4D67-932F-6A797ACDBA5C}" srcOrd="2" destOrd="0" presId="urn:microsoft.com/office/officeart/2005/8/layout/orgChart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BFD89B-F024-46EC-82CB-922FA2F1BE4E}">
      <dsp:nvSpPr>
        <dsp:cNvPr id="0" name=""/>
        <dsp:cNvSpPr/>
      </dsp:nvSpPr>
      <dsp:spPr>
        <a:xfrm>
          <a:off x="7077355" y="2295193"/>
          <a:ext cx="212463" cy="19468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46850"/>
              </a:lnTo>
              <a:lnTo>
                <a:pt x="212463" y="19468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C1DF9-C0B9-4358-AD1C-271BC88AAD04}">
      <dsp:nvSpPr>
        <dsp:cNvPr id="0" name=""/>
        <dsp:cNvSpPr/>
      </dsp:nvSpPr>
      <dsp:spPr>
        <a:xfrm>
          <a:off x="7077355" y="2295193"/>
          <a:ext cx="212463" cy="1225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25406"/>
              </a:lnTo>
              <a:lnTo>
                <a:pt x="212463" y="122540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1233A8-D573-4B60-A683-EDF0D588D1B0}">
      <dsp:nvSpPr>
        <dsp:cNvPr id="0" name=""/>
        <dsp:cNvSpPr/>
      </dsp:nvSpPr>
      <dsp:spPr>
        <a:xfrm>
          <a:off x="7077355" y="2295193"/>
          <a:ext cx="212463" cy="5039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03961"/>
              </a:lnTo>
              <a:lnTo>
                <a:pt x="212463" y="503961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DDFFC9-E5A8-4087-9E95-1FB681DF4CC5}">
      <dsp:nvSpPr>
        <dsp:cNvPr id="0" name=""/>
        <dsp:cNvSpPr/>
      </dsp:nvSpPr>
      <dsp:spPr>
        <a:xfrm>
          <a:off x="7598205" y="1573748"/>
          <a:ext cx="91440" cy="28647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7136E1-CBCF-4CD9-86AB-8BC82BD8452F}">
      <dsp:nvSpPr>
        <dsp:cNvPr id="0" name=""/>
        <dsp:cNvSpPr/>
      </dsp:nvSpPr>
      <dsp:spPr>
        <a:xfrm>
          <a:off x="4258905" y="594118"/>
          <a:ext cx="3385020" cy="2975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4296"/>
              </a:lnTo>
              <a:lnTo>
                <a:pt x="3385020" y="154296"/>
              </a:lnTo>
              <a:lnTo>
                <a:pt x="3385020" y="29753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A0F69D-0FEC-43AA-A7FB-56D4D5CABD91}">
      <dsp:nvSpPr>
        <dsp:cNvPr id="0" name=""/>
        <dsp:cNvSpPr/>
      </dsp:nvSpPr>
      <dsp:spPr>
        <a:xfrm>
          <a:off x="5443677" y="3016637"/>
          <a:ext cx="851451" cy="2864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3239"/>
              </a:lnTo>
              <a:lnTo>
                <a:pt x="851451" y="143239"/>
              </a:lnTo>
              <a:lnTo>
                <a:pt x="851451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CE33D1-5C8B-455E-AC3F-60E4AC0BA046}">
      <dsp:nvSpPr>
        <dsp:cNvPr id="0" name=""/>
        <dsp:cNvSpPr/>
      </dsp:nvSpPr>
      <dsp:spPr>
        <a:xfrm>
          <a:off x="4025656" y="3738081"/>
          <a:ext cx="212463" cy="1225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25406"/>
              </a:lnTo>
              <a:lnTo>
                <a:pt x="212463" y="122540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61A9E4-35A6-43C0-AA52-081AC41A5F9E}">
      <dsp:nvSpPr>
        <dsp:cNvPr id="0" name=""/>
        <dsp:cNvSpPr/>
      </dsp:nvSpPr>
      <dsp:spPr>
        <a:xfrm>
          <a:off x="4025656" y="3738081"/>
          <a:ext cx="212463" cy="5039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03961"/>
              </a:lnTo>
              <a:lnTo>
                <a:pt x="212463" y="503961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1F420B-6220-4553-B12C-D8A16684D2A0}">
      <dsp:nvSpPr>
        <dsp:cNvPr id="0" name=""/>
        <dsp:cNvSpPr/>
      </dsp:nvSpPr>
      <dsp:spPr>
        <a:xfrm>
          <a:off x="4592225" y="3016637"/>
          <a:ext cx="851451" cy="286479"/>
        </a:xfrm>
        <a:custGeom>
          <a:avLst/>
          <a:gdLst/>
          <a:ahLst/>
          <a:cxnLst/>
          <a:rect l="0" t="0" r="0" b="0"/>
          <a:pathLst>
            <a:path>
              <a:moveTo>
                <a:pt x="851451" y="0"/>
              </a:moveTo>
              <a:lnTo>
                <a:pt x="851451" y="143239"/>
              </a:lnTo>
              <a:lnTo>
                <a:pt x="0" y="143239"/>
              </a:lnTo>
              <a:lnTo>
                <a:pt x="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A0D1F8-7A76-45FB-9F8B-A143F3689240}">
      <dsp:nvSpPr>
        <dsp:cNvPr id="0" name=""/>
        <dsp:cNvSpPr/>
      </dsp:nvSpPr>
      <dsp:spPr>
        <a:xfrm>
          <a:off x="5397957" y="2295193"/>
          <a:ext cx="91440" cy="28647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CF65C2-1D4E-4203-8483-263873D3B705}">
      <dsp:nvSpPr>
        <dsp:cNvPr id="0" name=""/>
        <dsp:cNvSpPr/>
      </dsp:nvSpPr>
      <dsp:spPr>
        <a:xfrm>
          <a:off x="5397957" y="1573748"/>
          <a:ext cx="91440" cy="28647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8009D5-0F24-495C-B17E-71B0D4EE1A02}">
      <dsp:nvSpPr>
        <dsp:cNvPr id="0" name=""/>
        <dsp:cNvSpPr/>
      </dsp:nvSpPr>
      <dsp:spPr>
        <a:xfrm>
          <a:off x="4258905" y="594118"/>
          <a:ext cx="1184771" cy="2975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4296"/>
              </a:lnTo>
              <a:lnTo>
                <a:pt x="1184771" y="154296"/>
              </a:lnTo>
              <a:lnTo>
                <a:pt x="1184771" y="29753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7C6641-F5B5-4C91-833F-DC62F6D2E2DC}">
      <dsp:nvSpPr>
        <dsp:cNvPr id="0" name=""/>
        <dsp:cNvSpPr/>
      </dsp:nvSpPr>
      <dsp:spPr>
        <a:xfrm>
          <a:off x="2322753" y="3738081"/>
          <a:ext cx="212463" cy="1225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25406"/>
              </a:lnTo>
              <a:lnTo>
                <a:pt x="212463" y="122540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C1FD16-2F46-47BB-BF0F-C1D434EB35EE}">
      <dsp:nvSpPr>
        <dsp:cNvPr id="0" name=""/>
        <dsp:cNvSpPr/>
      </dsp:nvSpPr>
      <dsp:spPr>
        <a:xfrm>
          <a:off x="2322753" y="3738081"/>
          <a:ext cx="212463" cy="5039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03961"/>
              </a:lnTo>
              <a:lnTo>
                <a:pt x="212463" y="503961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2DCF16-4793-4F62-8615-1A86A0383840}">
      <dsp:nvSpPr>
        <dsp:cNvPr id="0" name=""/>
        <dsp:cNvSpPr/>
      </dsp:nvSpPr>
      <dsp:spPr>
        <a:xfrm>
          <a:off x="2843603" y="3016637"/>
          <a:ext cx="91440" cy="28647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490263-AA39-456D-B8BE-13FAC661C19E}">
      <dsp:nvSpPr>
        <dsp:cNvPr id="0" name=""/>
        <dsp:cNvSpPr/>
      </dsp:nvSpPr>
      <dsp:spPr>
        <a:xfrm>
          <a:off x="2843603" y="2295193"/>
          <a:ext cx="91440" cy="28647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F3FE2B-F1DA-4413-8913-2B9E5EE9BE1A}">
      <dsp:nvSpPr>
        <dsp:cNvPr id="0" name=""/>
        <dsp:cNvSpPr/>
      </dsp:nvSpPr>
      <dsp:spPr>
        <a:xfrm>
          <a:off x="2843603" y="1573748"/>
          <a:ext cx="91440" cy="28647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F6FB8C-F2C7-4BA2-AA1B-64E02C01B378}">
      <dsp:nvSpPr>
        <dsp:cNvPr id="0" name=""/>
        <dsp:cNvSpPr/>
      </dsp:nvSpPr>
      <dsp:spPr>
        <a:xfrm>
          <a:off x="2889323" y="594118"/>
          <a:ext cx="1369581" cy="297536"/>
        </a:xfrm>
        <a:custGeom>
          <a:avLst/>
          <a:gdLst/>
          <a:ahLst/>
          <a:cxnLst/>
          <a:rect l="0" t="0" r="0" b="0"/>
          <a:pathLst>
            <a:path>
              <a:moveTo>
                <a:pt x="1369581" y="0"/>
              </a:moveTo>
              <a:lnTo>
                <a:pt x="1369581" y="154296"/>
              </a:lnTo>
              <a:lnTo>
                <a:pt x="0" y="154296"/>
              </a:lnTo>
              <a:lnTo>
                <a:pt x="0" y="29753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8475D6-E3DE-4760-98DF-A2058EFA7AA4}">
      <dsp:nvSpPr>
        <dsp:cNvPr id="0" name=""/>
        <dsp:cNvSpPr/>
      </dsp:nvSpPr>
      <dsp:spPr>
        <a:xfrm>
          <a:off x="306074" y="3738081"/>
          <a:ext cx="212463" cy="1225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25406"/>
              </a:lnTo>
              <a:lnTo>
                <a:pt x="212463" y="122540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CCA110-0304-4EDB-B7BA-75C9F8AEED00}">
      <dsp:nvSpPr>
        <dsp:cNvPr id="0" name=""/>
        <dsp:cNvSpPr/>
      </dsp:nvSpPr>
      <dsp:spPr>
        <a:xfrm>
          <a:off x="306074" y="3738081"/>
          <a:ext cx="212463" cy="5039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03961"/>
              </a:lnTo>
              <a:lnTo>
                <a:pt x="212463" y="503961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029B3C-3925-4BAB-B7CE-DDBF143FAE99}">
      <dsp:nvSpPr>
        <dsp:cNvPr id="0" name=""/>
        <dsp:cNvSpPr/>
      </dsp:nvSpPr>
      <dsp:spPr>
        <a:xfrm>
          <a:off x="826923" y="3016637"/>
          <a:ext cx="91440" cy="28647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8508D6-C93E-4E49-A7B9-B4DA6FBDF86C}">
      <dsp:nvSpPr>
        <dsp:cNvPr id="0" name=""/>
        <dsp:cNvSpPr/>
      </dsp:nvSpPr>
      <dsp:spPr>
        <a:xfrm>
          <a:off x="826923" y="2295193"/>
          <a:ext cx="91440" cy="28647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A11FE5-1E99-4AA1-95A6-D2087475E7BF}">
      <dsp:nvSpPr>
        <dsp:cNvPr id="0" name=""/>
        <dsp:cNvSpPr/>
      </dsp:nvSpPr>
      <dsp:spPr>
        <a:xfrm>
          <a:off x="826923" y="1573748"/>
          <a:ext cx="91440" cy="28647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647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C8F406-0DC9-45A7-B698-8C9D764F5402}">
      <dsp:nvSpPr>
        <dsp:cNvPr id="0" name=""/>
        <dsp:cNvSpPr/>
      </dsp:nvSpPr>
      <dsp:spPr>
        <a:xfrm>
          <a:off x="872643" y="594118"/>
          <a:ext cx="3386261" cy="297536"/>
        </a:xfrm>
        <a:custGeom>
          <a:avLst/>
          <a:gdLst/>
          <a:ahLst/>
          <a:cxnLst/>
          <a:rect l="0" t="0" r="0" b="0"/>
          <a:pathLst>
            <a:path>
              <a:moveTo>
                <a:pt x="3386261" y="0"/>
              </a:moveTo>
              <a:lnTo>
                <a:pt x="3386261" y="154296"/>
              </a:lnTo>
              <a:lnTo>
                <a:pt x="0" y="154296"/>
              </a:lnTo>
              <a:lnTo>
                <a:pt x="0" y="29753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97FF8D-FC58-4291-A413-97D4B3FFC8DA}">
      <dsp:nvSpPr>
        <dsp:cNvPr id="0" name=""/>
        <dsp:cNvSpPr/>
      </dsp:nvSpPr>
      <dsp:spPr>
        <a:xfrm>
          <a:off x="3344448" y="100698"/>
          <a:ext cx="1828912" cy="493420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2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TQA</a:t>
          </a:r>
          <a:endParaRPr lang="ko-KR" altLang="en-US" sz="12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3344448" y="100698"/>
        <a:ext cx="1828912" cy="493420"/>
      </dsp:txXfrm>
    </dsp:sp>
    <dsp:sp modelId="{5AEC8923-A78B-4727-9ED7-DE90C1D72093}">
      <dsp:nvSpPr>
        <dsp:cNvPr id="0" name=""/>
        <dsp:cNvSpPr/>
      </dsp:nvSpPr>
      <dsp:spPr>
        <a:xfrm>
          <a:off x="7543" y="891654"/>
          <a:ext cx="1730200" cy="6820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IT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신규 및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R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구축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  <a:sym typeface="아리따-돋움(OTF)-Medium"/>
          </a:endParaRPr>
        </a:p>
        <a:p>
          <a:pPr lvl="0" algn="ctr" defTabSz="488950" rtl="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543" y="891654"/>
        <a:ext cx="1730200" cy="682094"/>
      </dsp:txXfrm>
    </dsp:sp>
    <dsp:sp modelId="{06706562-2085-4C5D-9F32-D879389E4EC6}">
      <dsp:nvSpPr>
        <dsp:cNvPr id="0" name=""/>
        <dsp:cNvSpPr/>
      </dsp:nvSpPr>
      <dsp:spPr>
        <a:xfrm>
          <a:off x="164432" y="1860228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164432" y="1860228"/>
        <a:ext cx="1416423" cy="434964"/>
      </dsp:txXfrm>
    </dsp:sp>
    <dsp:sp modelId="{366FD547-57D6-420F-8969-85C85847F670}">
      <dsp:nvSpPr>
        <dsp:cNvPr id="0" name=""/>
        <dsp:cNvSpPr/>
      </dsp:nvSpPr>
      <dsp:spPr>
        <a:xfrm>
          <a:off x="164432" y="2581672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164432" y="2581672"/>
        <a:ext cx="1416423" cy="434964"/>
      </dsp:txXfrm>
    </dsp:sp>
    <dsp:sp modelId="{DBB318E6-0EF9-497A-8A98-B81193AEB0FD}">
      <dsp:nvSpPr>
        <dsp:cNvPr id="0" name=""/>
        <dsp:cNvSpPr/>
      </dsp:nvSpPr>
      <dsp:spPr>
        <a:xfrm>
          <a:off x="164432" y="3303116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PM-00001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164432" y="3303116"/>
        <a:ext cx="1416423" cy="434964"/>
      </dsp:txXfrm>
    </dsp:sp>
    <dsp:sp modelId="{79951B95-0E1F-497F-9215-D04A2A4B1CE9}">
      <dsp:nvSpPr>
        <dsp:cNvPr id="0" name=""/>
        <dsp:cNvSpPr/>
      </dsp:nvSpPr>
      <dsp:spPr>
        <a:xfrm>
          <a:off x="518537" y="4024561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P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518537" y="4024561"/>
        <a:ext cx="1416423" cy="434964"/>
      </dsp:txXfrm>
    </dsp:sp>
    <dsp:sp modelId="{4102933D-B9FD-4622-B378-F0338B27DB23}">
      <dsp:nvSpPr>
        <dsp:cNvPr id="0" name=""/>
        <dsp:cNvSpPr/>
      </dsp:nvSpPr>
      <dsp:spPr>
        <a:xfrm>
          <a:off x="518537" y="4746005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Mo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518537" y="4746005"/>
        <a:ext cx="1416423" cy="434964"/>
      </dsp:txXfrm>
    </dsp:sp>
    <dsp:sp modelId="{8A7301E4-6839-4A0B-BBD5-6C11DD40797D}">
      <dsp:nvSpPr>
        <dsp:cNvPr id="0" name=""/>
        <dsp:cNvSpPr/>
      </dsp:nvSpPr>
      <dsp:spPr>
        <a:xfrm>
          <a:off x="2024223" y="891654"/>
          <a:ext cx="1730200" cy="6820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정기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/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긴급배포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 또는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PP 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024223" y="891654"/>
        <a:ext cx="1730200" cy="682094"/>
      </dsp:txXfrm>
    </dsp:sp>
    <dsp:sp modelId="{14C0F6B3-7708-4CAD-B8EC-E9A689648763}">
      <dsp:nvSpPr>
        <dsp:cNvPr id="0" name=""/>
        <dsp:cNvSpPr/>
      </dsp:nvSpPr>
      <dsp:spPr>
        <a:xfrm>
          <a:off x="2181111" y="1860228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181111" y="1860228"/>
        <a:ext cx="1416423" cy="434964"/>
      </dsp:txXfrm>
    </dsp:sp>
    <dsp:sp modelId="{09CA3129-8B94-4B14-958F-A7CA4D18A9B9}">
      <dsp:nvSpPr>
        <dsp:cNvPr id="0" name=""/>
        <dsp:cNvSpPr/>
      </dsp:nvSpPr>
      <dsp:spPr>
        <a:xfrm>
          <a:off x="2181111" y="2581672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181111" y="2581672"/>
        <a:ext cx="1416423" cy="434964"/>
      </dsp:txXfrm>
    </dsp:sp>
    <dsp:sp modelId="{1B6B3A2C-2B86-46D8-8C2F-D122B2AA83BF}">
      <dsp:nvSpPr>
        <dsp:cNvPr id="0" name=""/>
        <dsp:cNvSpPr/>
      </dsp:nvSpPr>
      <dsp:spPr>
        <a:xfrm>
          <a:off x="2181111" y="3303116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PM-00001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181111" y="3303116"/>
        <a:ext cx="1416423" cy="434964"/>
      </dsp:txXfrm>
    </dsp:sp>
    <dsp:sp modelId="{0CEF3506-6E37-4655-993C-7C8FD251AC4E}">
      <dsp:nvSpPr>
        <dsp:cNvPr id="0" name=""/>
        <dsp:cNvSpPr/>
      </dsp:nvSpPr>
      <dsp:spPr>
        <a:xfrm>
          <a:off x="2535217" y="4024561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P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535217" y="4024561"/>
        <a:ext cx="1416423" cy="434964"/>
      </dsp:txXfrm>
    </dsp:sp>
    <dsp:sp modelId="{9E04ADE1-C339-4D8A-A4CC-AA4254DF2FAE}">
      <dsp:nvSpPr>
        <dsp:cNvPr id="0" name=""/>
        <dsp:cNvSpPr/>
      </dsp:nvSpPr>
      <dsp:spPr>
        <a:xfrm>
          <a:off x="2535217" y="4746005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Mo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535217" y="4746005"/>
        <a:ext cx="1416423" cy="434964"/>
      </dsp:txXfrm>
    </dsp:sp>
    <dsp:sp modelId="{7E3A5B43-1594-4AEF-A8C9-9DDF3845EB77}">
      <dsp:nvSpPr>
        <dsp:cNvPr id="0" name=""/>
        <dsp:cNvSpPr/>
      </dsp:nvSpPr>
      <dsp:spPr>
        <a:xfrm>
          <a:off x="4578577" y="891654"/>
          <a:ext cx="1730200" cy="6820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상시 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578577" y="891654"/>
        <a:ext cx="1730200" cy="682094"/>
      </dsp:txXfrm>
    </dsp:sp>
    <dsp:sp modelId="{65C0A499-92EB-45F2-949A-1B73F4D033F2}">
      <dsp:nvSpPr>
        <dsp:cNvPr id="0" name=""/>
        <dsp:cNvSpPr/>
      </dsp:nvSpPr>
      <dsp:spPr>
        <a:xfrm>
          <a:off x="4735465" y="1860228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735465" y="1860228"/>
        <a:ext cx="1416423" cy="434964"/>
      </dsp:txXfrm>
    </dsp:sp>
    <dsp:sp modelId="{C991FD64-A9E4-4E4E-9AC8-B5BEFA41DAF1}">
      <dsp:nvSpPr>
        <dsp:cNvPr id="0" name=""/>
        <dsp:cNvSpPr/>
      </dsp:nvSpPr>
      <dsp:spPr>
        <a:xfrm>
          <a:off x="4735465" y="2581672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735465" y="2581672"/>
        <a:ext cx="1416423" cy="434964"/>
      </dsp:txXfrm>
    </dsp:sp>
    <dsp:sp modelId="{BC4DFC15-38D5-41CC-8E68-75EBB547D8BC}">
      <dsp:nvSpPr>
        <dsp:cNvPr id="0" name=""/>
        <dsp:cNvSpPr/>
      </dsp:nvSpPr>
      <dsp:spPr>
        <a:xfrm>
          <a:off x="3884014" y="3303116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주요 기능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3884014" y="3303116"/>
        <a:ext cx="1416423" cy="434964"/>
      </dsp:txXfrm>
    </dsp:sp>
    <dsp:sp modelId="{3F55631A-91F2-41E7-A0EE-27EE016C0D99}">
      <dsp:nvSpPr>
        <dsp:cNvPr id="0" name=""/>
        <dsp:cNvSpPr/>
      </dsp:nvSpPr>
      <dsp:spPr>
        <a:xfrm>
          <a:off x="4238119" y="4024561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P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238119" y="4024561"/>
        <a:ext cx="1416423" cy="434964"/>
      </dsp:txXfrm>
    </dsp:sp>
    <dsp:sp modelId="{99DAC96F-E4A1-4F1A-8251-CD2275DF7C7B}">
      <dsp:nvSpPr>
        <dsp:cNvPr id="0" name=""/>
        <dsp:cNvSpPr/>
      </dsp:nvSpPr>
      <dsp:spPr>
        <a:xfrm>
          <a:off x="4238119" y="4746005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Mo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238119" y="4746005"/>
        <a:ext cx="1416423" cy="434964"/>
      </dsp:txXfrm>
    </dsp:sp>
    <dsp:sp modelId="{9CDAB95E-10AC-4D07-9777-6AC18071A7DA}">
      <dsp:nvSpPr>
        <dsp:cNvPr id="0" name=""/>
        <dsp:cNvSpPr/>
      </dsp:nvSpPr>
      <dsp:spPr>
        <a:xfrm>
          <a:off x="5586916" y="3303116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결제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5586916" y="3303116"/>
        <a:ext cx="1416423" cy="434964"/>
      </dsp:txXfrm>
    </dsp:sp>
    <dsp:sp modelId="{F64A5C08-9C7D-4E71-AB14-8CF1F43E6643}">
      <dsp:nvSpPr>
        <dsp:cNvPr id="0" name=""/>
        <dsp:cNvSpPr/>
      </dsp:nvSpPr>
      <dsp:spPr>
        <a:xfrm>
          <a:off x="6777583" y="891654"/>
          <a:ext cx="1732682" cy="682094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미사용 테스트케이스 또는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  <a:p>
          <a:pPr lvl="0" algn="ctr" defTabSz="48895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종료된 프로젝트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6777583" y="891654"/>
        <a:ext cx="1732682" cy="682094"/>
      </dsp:txXfrm>
    </dsp:sp>
    <dsp:sp modelId="{5FD5C512-6516-47ED-9F8C-384FE16B7384}">
      <dsp:nvSpPr>
        <dsp:cNvPr id="0" name=""/>
        <dsp:cNvSpPr/>
      </dsp:nvSpPr>
      <dsp:spPr>
        <a:xfrm>
          <a:off x="6935713" y="1860228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rchive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6935713" y="1860228"/>
        <a:ext cx="1416423" cy="434964"/>
      </dsp:txXfrm>
    </dsp:sp>
    <dsp:sp modelId="{B9693ECF-379B-46F1-BAA8-9600C9A06547}">
      <dsp:nvSpPr>
        <dsp:cNvPr id="0" name=""/>
        <dsp:cNvSpPr/>
      </dsp:nvSpPr>
      <dsp:spPr>
        <a:xfrm>
          <a:off x="7289819" y="2581672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289819" y="2581672"/>
        <a:ext cx="1416423" cy="434964"/>
      </dsp:txXfrm>
    </dsp:sp>
    <dsp:sp modelId="{45125ABD-33BD-40C4-AB3D-5B2FB9BE1271}">
      <dsp:nvSpPr>
        <dsp:cNvPr id="0" name=""/>
        <dsp:cNvSpPr/>
      </dsp:nvSpPr>
      <dsp:spPr>
        <a:xfrm>
          <a:off x="7289819" y="3303116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289819" y="3303116"/>
        <a:ext cx="1416423" cy="434964"/>
      </dsp:txXfrm>
    </dsp:sp>
    <dsp:sp modelId="{27581EA2-D022-49F0-8DFE-F2E741585E66}">
      <dsp:nvSpPr>
        <dsp:cNvPr id="0" name=""/>
        <dsp:cNvSpPr/>
      </dsp:nvSpPr>
      <dsp:spPr>
        <a:xfrm>
          <a:off x="7289819" y="4024561"/>
          <a:ext cx="1416423" cy="434964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289819" y="4024561"/>
        <a:ext cx="1416423" cy="4349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BFD89B-F024-46EC-82CB-922FA2F1BE4E}">
      <dsp:nvSpPr>
        <dsp:cNvPr id="0" name=""/>
        <dsp:cNvSpPr/>
      </dsp:nvSpPr>
      <dsp:spPr>
        <a:xfrm>
          <a:off x="6941705" y="2656734"/>
          <a:ext cx="230686" cy="21138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3831"/>
              </a:lnTo>
              <a:lnTo>
                <a:pt x="230686" y="2113831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C1DF9-C0B9-4358-AD1C-271BC88AAD04}">
      <dsp:nvSpPr>
        <dsp:cNvPr id="0" name=""/>
        <dsp:cNvSpPr/>
      </dsp:nvSpPr>
      <dsp:spPr>
        <a:xfrm>
          <a:off x="6941705" y="2656734"/>
          <a:ext cx="230686" cy="13305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30509"/>
              </a:lnTo>
              <a:lnTo>
                <a:pt x="230686" y="1330509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1233A8-D573-4B60-A683-EDF0D588D1B0}">
      <dsp:nvSpPr>
        <dsp:cNvPr id="0" name=""/>
        <dsp:cNvSpPr/>
      </dsp:nvSpPr>
      <dsp:spPr>
        <a:xfrm>
          <a:off x="6941705" y="2656734"/>
          <a:ext cx="230686" cy="5471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7186"/>
              </a:lnTo>
              <a:lnTo>
                <a:pt x="230686" y="54718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DDFFC9-E5A8-4087-9E95-1FB681DF4CC5}">
      <dsp:nvSpPr>
        <dsp:cNvPr id="0" name=""/>
        <dsp:cNvSpPr/>
      </dsp:nvSpPr>
      <dsp:spPr>
        <a:xfrm>
          <a:off x="7511149" y="1873412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7136E1-CBCF-4CD9-86AB-8BC82BD8452F}">
      <dsp:nvSpPr>
        <dsp:cNvPr id="0" name=""/>
        <dsp:cNvSpPr/>
      </dsp:nvSpPr>
      <dsp:spPr>
        <a:xfrm>
          <a:off x="4250500" y="809758"/>
          <a:ext cx="3306369" cy="3230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530"/>
              </a:lnTo>
              <a:lnTo>
                <a:pt x="3306369" y="167530"/>
              </a:lnTo>
              <a:lnTo>
                <a:pt x="3306369" y="323055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A0D1F8-7A76-45FB-9F8B-A143F3689240}">
      <dsp:nvSpPr>
        <dsp:cNvPr id="0" name=""/>
        <dsp:cNvSpPr/>
      </dsp:nvSpPr>
      <dsp:spPr>
        <a:xfrm>
          <a:off x="4750707" y="2656734"/>
          <a:ext cx="230686" cy="5471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7186"/>
              </a:lnTo>
              <a:lnTo>
                <a:pt x="230686" y="54718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CF65C2-1D4E-4203-8483-263873D3B705}">
      <dsp:nvSpPr>
        <dsp:cNvPr id="0" name=""/>
        <dsp:cNvSpPr/>
      </dsp:nvSpPr>
      <dsp:spPr>
        <a:xfrm>
          <a:off x="5320151" y="1873412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8009D5-0F24-495C-B17E-71B0D4EE1A02}">
      <dsp:nvSpPr>
        <dsp:cNvPr id="0" name=""/>
        <dsp:cNvSpPr/>
      </dsp:nvSpPr>
      <dsp:spPr>
        <a:xfrm>
          <a:off x="4250500" y="809758"/>
          <a:ext cx="1115371" cy="3230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530"/>
              </a:lnTo>
              <a:lnTo>
                <a:pt x="1115371" y="167530"/>
              </a:lnTo>
              <a:lnTo>
                <a:pt x="1115371" y="323055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C1FD16-2F46-47BB-BF0F-C1D434EB35EE}">
      <dsp:nvSpPr>
        <dsp:cNvPr id="0" name=""/>
        <dsp:cNvSpPr/>
      </dsp:nvSpPr>
      <dsp:spPr>
        <a:xfrm>
          <a:off x="2561057" y="4223379"/>
          <a:ext cx="230686" cy="5471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7186"/>
              </a:lnTo>
              <a:lnTo>
                <a:pt x="230686" y="54718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2DCF16-4793-4F62-8615-1A86A0383840}">
      <dsp:nvSpPr>
        <dsp:cNvPr id="0" name=""/>
        <dsp:cNvSpPr/>
      </dsp:nvSpPr>
      <dsp:spPr>
        <a:xfrm>
          <a:off x="3130501" y="3440056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490263-AA39-456D-B8BE-13FAC661C19E}">
      <dsp:nvSpPr>
        <dsp:cNvPr id="0" name=""/>
        <dsp:cNvSpPr/>
      </dsp:nvSpPr>
      <dsp:spPr>
        <a:xfrm>
          <a:off x="3130501" y="2656734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F3FE2B-F1DA-4413-8913-2B9E5EE9BE1A}">
      <dsp:nvSpPr>
        <dsp:cNvPr id="0" name=""/>
        <dsp:cNvSpPr/>
      </dsp:nvSpPr>
      <dsp:spPr>
        <a:xfrm>
          <a:off x="3130501" y="1873412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F6FB8C-F2C7-4BA2-AA1B-64E02C01B378}">
      <dsp:nvSpPr>
        <dsp:cNvPr id="0" name=""/>
        <dsp:cNvSpPr/>
      </dsp:nvSpPr>
      <dsp:spPr>
        <a:xfrm>
          <a:off x="3176221" y="809758"/>
          <a:ext cx="1074279" cy="323055"/>
        </a:xfrm>
        <a:custGeom>
          <a:avLst/>
          <a:gdLst/>
          <a:ahLst/>
          <a:cxnLst/>
          <a:rect l="0" t="0" r="0" b="0"/>
          <a:pathLst>
            <a:path>
              <a:moveTo>
                <a:pt x="1074279" y="0"/>
              </a:moveTo>
              <a:lnTo>
                <a:pt x="1074279" y="167530"/>
              </a:lnTo>
              <a:lnTo>
                <a:pt x="0" y="167530"/>
              </a:lnTo>
              <a:lnTo>
                <a:pt x="0" y="323055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029B3C-3925-4BAB-B7CE-DDBF143FAE99}">
      <dsp:nvSpPr>
        <dsp:cNvPr id="0" name=""/>
        <dsp:cNvSpPr/>
      </dsp:nvSpPr>
      <dsp:spPr>
        <a:xfrm>
          <a:off x="327619" y="3440056"/>
          <a:ext cx="230686" cy="5471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7186"/>
              </a:lnTo>
              <a:lnTo>
                <a:pt x="230686" y="547186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8508D6-C93E-4E49-A7B9-B4DA6FBDF86C}">
      <dsp:nvSpPr>
        <dsp:cNvPr id="0" name=""/>
        <dsp:cNvSpPr/>
      </dsp:nvSpPr>
      <dsp:spPr>
        <a:xfrm>
          <a:off x="897063" y="2656734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A11FE5-1E99-4AA1-95A6-D2087475E7BF}">
      <dsp:nvSpPr>
        <dsp:cNvPr id="0" name=""/>
        <dsp:cNvSpPr/>
      </dsp:nvSpPr>
      <dsp:spPr>
        <a:xfrm>
          <a:off x="897063" y="1873412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C8F406-0DC9-45A7-B698-8C9D764F5402}">
      <dsp:nvSpPr>
        <dsp:cNvPr id="0" name=""/>
        <dsp:cNvSpPr/>
      </dsp:nvSpPr>
      <dsp:spPr>
        <a:xfrm>
          <a:off x="942783" y="809758"/>
          <a:ext cx="3307716" cy="323055"/>
        </a:xfrm>
        <a:custGeom>
          <a:avLst/>
          <a:gdLst/>
          <a:ahLst/>
          <a:cxnLst/>
          <a:rect l="0" t="0" r="0" b="0"/>
          <a:pathLst>
            <a:path>
              <a:moveTo>
                <a:pt x="3307716" y="0"/>
              </a:moveTo>
              <a:lnTo>
                <a:pt x="3307716" y="167530"/>
              </a:lnTo>
              <a:lnTo>
                <a:pt x="0" y="167530"/>
              </a:lnTo>
              <a:lnTo>
                <a:pt x="0" y="323055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97FF8D-FC58-4291-A413-97D4B3FFC8DA}">
      <dsp:nvSpPr>
        <dsp:cNvPr id="0" name=""/>
        <dsp:cNvSpPr/>
      </dsp:nvSpPr>
      <dsp:spPr>
        <a:xfrm>
          <a:off x="3257611" y="274018"/>
          <a:ext cx="1985778" cy="535740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2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TQA</a:t>
          </a:r>
          <a:endParaRPr lang="ko-KR" altLang="en-US" sz="12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3257611" y="274018"/>
        <a:ext cx="1985778" cy="535740"/>
      </dsp:txXfrm>
    </dsp:sp>
    <dsp:sp modelId="{5AEC8923-A78B-4727-9ED7-DE90C1D72093}">
      <dsp:nvSpPr>
        <dsp:cNvPr id="0" name=""/>
        <dsp:cNvSpPr/>
      </dsp:nvSpPr>
      <dsp:spPr>
        <a:xfrm>
          <a:off x="3484" y="1132814"/>
          <a:ext cx="1878599" cy="740597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IT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신규 및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R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구축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  <a:sym typeface="아리따-돋움(OTF)-Medium"/>
          </a:endParaRPr>
        </a:p>
        <a:p>
          <a:pPr lvl="0" algn="ctr" defTabSz="488950" rtl="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3484" y="1132814"/>
        <a:ext cx="1878599" cy="740597"/>
      </dsp:txXfrm>
    </dsp:sp>
    <dsp:sp modelId="{06706562-2085-4C5D-9F32-D879389E4EC6}">
      <dsp:nvSpPr>
        <dsp:cNvPr id="0" name=""/>
        <dsp:cNvSpPr/>
      </dsp:nvSpPr>
      <dsp:spPr>
        <a:xfrm>
          <a:off x="173828" y="2184463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173828" y="2184463"/>
        <a:ext cx="1537909" cy="472271"/>
      </dsp:txXfrm>
    </dsp:sp>
    <dsp:sp modelId="{366FD547-57D6-420F-8969-85C85847F670}">
      <dsp:nvSpPr>
        <dsp:cNvPr id="0" name=""/>
        <dsp:cNvSpPr/>
      </dsp:nvSpPr>
      <dsp:spPr>
        <a:xfrm>
          <a:off x="173828" y="2967785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173828" y="2967785"/>
        <a:ext cx="1537909" cy="472271"/>
      </dsp:txXfrm>
    </dsp:sp>
    <dsp:sp modelId="{DBB318E6-0EF9-497A-8A98-B81193AEB0FD}">
      <dsp:nvSpPr>
        <dsp:cNvPr id="0" name=""/>
        <dsp:cNvSpPr/>
      </dsp:nvSpPr>
      <dsp:spPr>
        <a:xfrm>
          <a:off x="558306" y="3751107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PM-00001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558306" y="3751107"/>
        <a:ext cx="1537909" cy="472271"/>
      </dsp:txXfrm>
    </dsp:sp>
    <dsp:sp modelId="{8A7301E4-6839-4A0B-BBD5-6C11DD40797D}">
      <dsp:nvSpPr>
        <dsp:cNvPr id="0" name=""/>
        <dsp:cNvSpPr/>
      </dsp:nvSpPr>
      <dsp:spPr>
        <a:xfrm>
          <a:off x="2236921" y="1132814"/>
          <a:ext cx="1878599" cy="740597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정기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/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긴급배포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 또는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PP 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236921" y="1132814"/>
        <a:ext cx="1878599" cy="740597"/>
      </dsp:txXfrm>
    </dsp:sp>
    <dsp:sp modelId="{14C0F6B3-7708-4CAD-B8EC-E9A689648763}">
      <dsp:nvSpPr>
        <dsp:cNvPr id="0" name=""/>
        <dsp:cNvSpPr/>
      </dsp:nvSpPr>
      <dsp:spPr>
        <a:xfrm>
          <a:off x="2407266" y="2184463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407266" y="2184463"/>
        <a:ext cx="1537909" cy="472271"/>
      </dsp:txXfrm>
    </dsp:sp>
    <dsp:sp modelId="{09CA3129-8B94-4B14-958F-A7CA4D18A9B9}">
      <dsp:nvSpPr>
        <dsp:cNvPr id="0" name=""/>
        <dsp:cNvSpPr/>
      </dsp:nvSpPr>
      <dsp:spPr>
        <a:xfrm>
          <a:off x="2407266" y="2967785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407266" y="2967785"/>
        <a:ext cx="1537909" cy="472271"/>
      </dsp:txXfrm>
    </dsp:sp>
    <dsp:sp modelId="{1B6B3A2C-2B86-46D8-8C2F-D122B2AA83BF}">
      <dsp:nvSpPr>
        <dsp:cNvPr id="0" name=""/>
        <dsp:cNvSpPr/>
      </dsp:nvSpPr>
      <dsp:spPr>
        <a:xfrm>
          <a:off x="2407266" y="3751107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정기배포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407266" y="3751107"/>
        <a:ext cx="1537909" cy="472271"/>
      </dsp:txXfrm>
    </dsp:sp>
    <dsp:sp modelId="{0CEF3506-6E37-4655-993C-7C8FD251AC4E}">
      <dsp:nvSpPr>
        <dsp:cNvPr id="0" name=""/>
        <dsp:cNvSpPr/>
      </dsp:nvSpPr>
      <dsp:spPr>
        <a:xfrm>
          <a:off x="2791744" y="4534430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_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정기배포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_220401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791744" y="4534430"/>
        <a:ext cx="1537909" cy="472271"/>
      </dsp:txXfrm>
    </dsp:sp>
    <dsp:sp modelId="{7E3A5B43-1594-4AEF-A8C9-9DDF3845EB77}">
      <dsp:nvSpPr>
        <dsp:cNvPr id="0" name=""/>
        <dsp:cNvSpPr/>
      </dsp:nvSpPr>
      <dsp:spPr>
        <a:xfrm>
          <a:off x="4426572" y="1132814"/>
          <a:ext cx="1878599" cy="740597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상시 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426572" y="1132814"/>
        <a:ext cx="1878599" cy="740597"/>
      </dsp:txXfrm>
    </dsp:sp>
    <dsp:sp modelId="{65C0A499-92EB-45F2-949A-1B73F4D033F2}">
      <dsp:nvSpPr>
        <dsp:cNvPr id="0" name=""/>
        <dsp:cNvSpPr/>
      </dsp:nvSpPr>
      <dsp:spPr>
        <a:xfrm>
          <a:off x="4596916" y="2184463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596916" y="2184463"/>
        <a:ext cx="1537909" cy="472271"/>
      </dsp:txXfrm>
    </dsp:sp>
    <dsp:sp modelId="{C991FD64-A9E4-4E4E-9AC8-B5BEFA41DAF1}">
      <dsp:nvSpPr>
        <dsp:cNvPr id="0" name=""/>
        <dsp:cNvSpPr/>
      </dsp:nvSpPr>
      <dsp:spPr>
        <a:xfrm>
          <a:off x="4981394" y="2967785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22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년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4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월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981394" y="2967785"/>
        <a:ext cx="1537909" cy="472271"/>
      </dsp:txXfrm>
    </dsp:sp>
    <dsp:sp modelId="{F64A5C08-9C7D-4E71-AB14-8CF1F43E6643}">
      <dsp:nvSpPr>
        <dsp:cNvPr id="0" name=""/>
        <dsp:cNvSpPr/>
      </dsp:nvSpPr>
      <dsp:spPr>
        <a:xfrm>
          <a:off x="6616222" y="1132814"/>
          <a:ext cx="1881295" cy="740597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미사용 테스트케이스 또는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  <a:p>
          <a:pPr lvl="0" algn="ctr" defTabSz="48895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종료된 프로젝트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6616222" y="1132814"/>
        <a:ext cx="1881295" cy="740597"/>
      </dsp:txXfrm>
    </dsp:sp>
    <dsp:sp modelId="{5FD5C512-6516-47ED-9F8C-384FE16B7384}">
      <dsp:nvSpPr>
        <dsp:cNvPr id="0" name=""/>
        <dsp:cNvSpPr/>
      </dsp:nvSpPr>
      <dsp:spPr>
        <a:xfrm>
          <a:off x="6787914" y="2184463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rchive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6787914" y="2184463"/>
        <a:ext cx="1537909" cy="472271"/>
      </dsp:txXfrm>
    </dsp:sp>
    <dsp:sp modelId="{B9693ECF-379B-46F1-BAA8-9600C9A06547}">
      <dsp:nvSpPr>
        <dsp:cNvPr id="0" name=""/>
        <dsp:cNvSpPr/>
      </dsp:nvSpPr>
      <dsp:spPr>
        <a:xfrm>
          <a:off x="7172392" y="2967785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172392" y="2967785"/>
        <a:ext cx="1537909" cy="472271"/>
      </dsp:txXfrm>
    </dsp:sp>
    <dsp:sp modelId="{45125ABD-33BD-40C4-AB3D-5B2FB9BE1271}">
      <dsp:nvSpPr>
        <dsp:cNvPr id="0" name=""/>
        <dsp:cNvSpPr/>
      </dsp:nvSpPr>
      <dsp:spPr>
        <a:xfrm>
          <a:off x="7172392" y="3751107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172392" y="3751107"/>
        <a:ext cx="1537909" cy="472271"/>
      </dsp:txXfrm>
    </dsp:sp>
    <dsp:sp modelId="{27581EA2-D022-49F0-8DFE-F2E741585E66}">
      <dsp:nvSpPr>
        <dsp:cNvPr id="0" name=""/>
        <dsp:cNvSpPr/>
      </dsp:nvSpPr>
      <dsp:spPr>
        <a:xfrm>
          <a:off x="7172392" y="4534430"/>
          <a:ext cx="1537909" cy="472271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172392" y="4534430"/>
        <a:ext cx="1537909" cy="47227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BFD89B-F024-46EC-82CB-922FA2F1BE4E}">
      <dsp:nvSpPr>
        <dsp:cNvPr id="0" name=""/>
        <dsp:cNvSpPr/>
      </dsp:nvSpPr>
      <dsp:spPr>
        <a:xfrm>
          <a:off x="6942259" y="2631258"/>
          <a:ext cx="230133" cy="21775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77522"/>
              </a:lnTo>
              <a:lnTo>
                <a:pt x="230133" y="2177522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C1DF9-C0B9-4358-AD1C-271BC88AAD04}">
      <dsp:nvSpPr>
        <dsp:cNvPr id="0" name=""/>
        <dsp:cNvSpPr/>
      </dsp:nvSpPr>
      <dsp:spPr>
        <a:xfrm>
          <a:off x="6942259" y="2631258"/>
          <a:ext cx="230133" cy="13687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8723"/>
              </a:lnTo>
              <a:lnTo>
                <a:pt x="230133" y="1368723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1233A8-D573-4B60-A683-EDF0D588D1B0}">
      <dsp:nvSpPr>
        <dsp:cNvPr id="0" name=""/>
        <dsp:cNvSpPr/>
      </dsp:nvSpPr>
      <dsp:spPr>
        <a:xfrm>
          <a:off x="6942259" y="2631258"/>
          <a:ext cx="230133" cy="5599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59924"/>
              </a:lnTo>
              <a:lnTo>
                <a:pt x="230133" y="559924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DDFFC9-E5A8-4087-9E95-1FB681DF4CC5}">
      <dsp:nvSpPr>
        <dsp:cNvPr id="0" name=""/>
        <dsp:cNvSpPr/>
      </dsp:nvSpPr>
      <dsp:spPr>
        <a:xfrm>
          <a:off x="7510227" y="1822459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7136E1-CBCF-4CD9-86AB-8BC82BD8452F}">
      <dsp:nvSpPr>
        <dsp:cNvPr id="0" name=""/>
        <dsp:cNvSpPr/>
      </dsp:nvSpPr>
      <dsp:spPr>
        <a:xfrm>
          <a:off x="4251883" y="758805"/>
          <a:ext cx="3304063" cy="3230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530"/>
              </a:lnTo>
              <a:lnTo>
                <a:pt x="3304063" y="167530"/>
              </a:lnTo>
              <a:lnTo>
                <a:pt x="3304063" y="323055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AD82A4-DE85-49DA-9FB3-F67B7B8D78A5}">
      <dsp:nvSpPr>
        <dsp:cNvPr id="0" name=""/>
        <dsp:cNvSpPr/>
      </dsp:nvSpPr>
      <dsp:spPr>
        <a:xfrm>
          <a:off x="4751261" y="3440056"/>
          <a:ext cx="230133" cy="5599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59924"/>
              </a:lnTo>
              <a:lnTo>
                <a:pt x="230133" y="559924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A0D1F8-7A76-45FB-9F8B-A143F3689240}">
      <dsp:nvSpPr>
        <dsp:cNvPr id="0" name=""/>
        <dsp:cNvSpPr/>
      </dsp:nvSpPr>
      <dsp:spPr>
        <a:xfrm>
          <a:off x="5319229" y="2631258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CF65C2-1D4E-4203-8483-263873D3B705}">
      <dsp:nvSpPr>
        <dsp:cNvPr id="0" name=""/>
        <dsp:cNvSpPr/>
      </dsp:nvSpPr>
      <dsp:spPr>
        <a:xfrm>
          <a:off x="5319229" y="1822459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8009D5-0F24-495C-B17E-71B0D4EE1A02}">
      <dsp:nvSpPr>
        <dsp:cNvPr id="0" name=""/>
        <dsp:cNvSpPr/>
      </dsp:nvSpPr>
      <dsp:spPr>
        <a:xfrm>
          <a:off x="4251883" y="758805"/>
          <a:ext cx="1113065" cy="3230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530"/>
              </a:lnTo>
              <a:lnTo>
                <a:pt x="1113065" y="167530"/>
              </a:lnTo>
              <a:lnTo>
                <a:pt x="1113065" y="323055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2DCF16-4793-4F62-8615-1A86A0383840}">
      <dsp:nvSpPr>
        <dsp:cNvPr id="0" name=""/>
        <dsp:cNvSpPr/>
      </dsp:nvSpPr>
      <dsp:spPr>
        <a:xfrm>
          <a:off x="2561610" y="3440056"/>
          <a:ext cx="230133" cy="5599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59924"/>
              </a:lnTo>
              <a:lnTo>
                <a:pt x="230133" y="559924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490263-AA39-456D-B8BE-13FAC661C19E}">
      <dsp:nvSpPr>
        <dsp:cNvPr id="0" name=""/>
        <dsp:cNvSpPr/>
      </dsp:nvSpPr>
      <dsp:spPr>
        <a:xfrm>
          <a:off x="3129579" y="2631258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F3FE2B-F1DA-4413-8913-2B9E5EE9BE1A}">
      <dsp:nvSpPr>
        <dsp:cNvPr id="0" name=""/>
        <dsp:cNvSpPr/>
      </dsp:nvSpPr>
      <dsp:spPr>
        <a:xfrm>
          <a:off x="3129579" y="1822459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F6FB8C-F2C7-4BA2-AA1B-64E02C01B378}">
      <dsp:nvSpPr>
        <dsp:cNvPr id="0" name=""/>
        <dsp:cNvSpPr/>
      </dsp:nvSpPr>
      <dsp:spPr>
        <a:xfrm>
          <a:off x="3175299" y="758805"/>
          <a:ext cx="1076584" cy="323055"/>
        </a:xfrm>
        <a:custGeom>
          <a:avLst/>
          <a:gdLst/>
          <a:ahLst/>
          <a:cxnLst/>
          <a:rect l="0" t="0" r="0" b="0"/>
          <a:pathLst>
            <a:path>
              <a:moveTo>
                <a:pt x="1076584" y="0"/>
              </a:moveTo>
              <a:lnTo>
                <a:pt x="1076584" y="167530"/>
              </a:lnTo>
              <a:lnTo>
                <a:pt x="0" y="167530"/>
              </a:lnTo>
              <a:lnTo>
                <a:pt x="0" y="323055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8508D6-C93E-4E49-A7B9-B4DA6FBDF86C}">
      <dsp:nvSpPr>
        <dsp:cNvPr id="0" name=""/>
        <dsp:cNvSpPr/>
      </dsp:nvSpPr>
      <dsp:spPr>
        <a:xfrm>
          <a:off x="332783" y="2631258"/>
          <a:ext cx="230133" cy="5599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59924"/>
              </a:lnTo>
              <a:lnTo>
                <a:pt x="230133" y="559924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A11FE5-1E99-4AA1-95A6-D2087475E7BF}">
      <dsp:nvSpPr>
        <dsp:cNvPr id="0" name=""/>
        <dsp:cNvSpPr/>
      </dsp:nvSpPr>
      <dsp:spPr>
        <a:xfrm>
          <a:off x="900751" y="1822459"/>
          <a:ext cx="91440" cy="3110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050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C8F406-0DC9-45A7-B698-8C9D764F5402}">
      <dsp:nvSpPr>
        <dsp:cNvPr id="0" name=""/>
        <dsp:cNvSpPr/>
      </dsp:nvSpPr>
      <dsp:spPr>
        <a:xfrm>
          <a:off x="946471" y="758805"/>
          <a:ext cx="3305411" cy="323055"/>
        </a:xfrm>
        <a:custGeom>
          <a:avLst/>
          <a:gdLst/>
          <a:ahLst/>
          <a:cxnLst/>
          <a:rect l="0" t="0" r="0" b="0"/>
          <a:pathLst>
            <a:path>
              <a:moveTo>
                <a:pt x="3305411" y="0"/>
              </a:moveTo>
              <a:lnTo>
                <a:pt x="3305411" y="167530"/>
              </a:lnTo>
              <a:lnTo>
                <a:pt x="0" y="167530"/>
              </a:lnTo>
              <a:lnTo>
                <a:pt x="0" y="323055"/>
              </a:lnTo>
            </a:path>
          </a:pathLst>
        </a:custGeom>
        <a:noFill/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97FF8D-FC58-4291-A413-97D4B3FFC8DA}">
      <dsp:nvSpPr>
        <dsp:cNvPr id="0" name=""/>
        <dsp:cNvSpPr/>
      </dsp:nvSpPr>
      <dsp:spPr>
        <a:xfrm>
          <a:off x="3258994" y="223065"/>
          <a:ext cx="1985778" cy="535740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2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TQA</a:t>
          </a:r>
          <a:endParaRPr lang="ko-KR" altLang="en-US" sz="12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3258994" y="223065"/>
        <a:ext cx="1985778" cy="535740"/>
      </dsp:txXfrm>
    </dsp:sp>
    <dsp:sp modelId="{5AEC8923-A78B-4727-9ED7-DE90C1D72093}">
      <dsp:nvSpPr>
        <dsp:cNvPr id="0" name=""/>
        <dsp:cNvSpPr/>
      </dsp:nvSpPr>
      <dsp:spPr>
        <a:xfrm>
          <a:off x="7172" y="1081861"/>
          <a:ext cx="1878599" cy="740597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IT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신규 및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R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구축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  <a:sym typeface="아리따-돋움(OTF)-Medium"/>
          </a:endParaRPr>
        </a:p>
        <a:p>
          <a:pPr lvl="0" algn="ctr" defTabSz="488950" rtl="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172" y="1081861"/>
        <a:ext cx="1878599" cy="740597"/>
      </dsp:txXfrm>
    </dsp:sp>
    <dsp:sp modelId="{06706562-2085-4C5D-9F32-D879389E4EC6}">
      <dsp:nvSpPr>
        <dsp:cNvPr id="0" name=""/>
        <dsp:cNvSpPr/>
      </dsp:nvSpPr>
      <dsp:spPr>
        <a:xfrm>
          <a:off x="179361" y="2133509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179361" y="2133509"/>
        <a:ext cx="1534221" cy="497748"/>
      </dsp:txXfrm>
    </dsp:sp>
    <dsp:sp modelId="{366FD547-57D6-420F-8969-85C85847F670}">
      <dsp:nvSpPr>
        <dsp:cNvPr id="0" name=""/>
        <dsp:cNvSpPr/>
      </dsp:nvSpPr>
      <dsp:spPr>
        <a:xfrm>
          <a:off x="562916" y="2942308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562916" y="2942308"/>
        <a:ext cx="1534221" cy="497748"/>
      </dsp:txXfrm>
    </dsp:sp>
    <dsp:sp modelId="{8A7301E4-6839-4A0B-BBD5-6C11DD40797D}">
      <dsp:nvSpPr>
        <dsp:cNvPr id="0" name=""/>
        <dsp:cNvSpPr/>
      </dsp:nvSpPr>
      <dsp:spPr>
        <a:xfrm>
          <a:off x="2235999" y="1081861"/>
          <a:ext cx="1878599" cy="740597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정기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/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긴급배포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 또는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APP 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235999" y="1081861"/>
        <a:ext cx="1878599" cy="740597"/>
      </dsp:txXfrm>
    </dsp:sp>
    <dsp:sp modelId="{14C0F6B3-7708-4CAD-B8EC-E9A689648763}">
      <dsp:nvSpPr>
        <dsp:cNvPr id="0" name=""/>
        <dsp:cNvSpPr/>
      </dsp:nvSpPr>
      <dsp:spPr>
        <a:xfrm>
          <a:off x="2408188" y="2133509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408188" y="2133509"/>
        <a:ext cx="1534221" cy="497748"/>
      </dsp:txXfrm>
    </dsp:sp>
    <dsp:sp modelId="{09CA3129-8B94-4B14-958F-A7CA4D18A9B9}">
      <dsp:nvSpPr>
        <dsp:cNvPr id="0" name=""/>
        <dsp:cNvSpPr/>
      </dsp:nvSpPr>
      <dsp:spPr>
        <a:xfrm>
          <a:off x="2408188" y="2942308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아모레몰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408188" y="2942308"/>
        <a:ext cx="1534221" cy="497748"/>
      </dsp:txXfrm>
    </dsp:sp>
    <dsp:sp modelId="{1B6B3A2C-2B86-46D8-8C2F-D122B2AA83BF}">
      <dsp:nvSpPr>
        <dsp:cNvPr id="0" name=""/>
        <dsp:cNvSpPr/>
      </dsp:nvSpPr>
      <dsp:spPr>
        <a:xfrm>
          <a:off x="2791744" y="3751107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정기배포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2791744" y="3751107"/>
        <a:ext cx="1534221" cy="497748"/>
      </dsp:txXfrm>
    </dsp:sp>
    <dsp:sp modelId="{7E3A5B43-1594-4AEF-A8C9-9DDF3845EB77}">
      <dsp:nvSpPr>
        <dsp:cNvPr id="0" name=""/>
        <dsp:cNvSpPr/>
      </dsp:nvSpPr>
      <dsp:spPr>
        <a:xfrm>
          <a:off x="4425650" y="1081861"/>
          <a:ext cx="1878599" cy="740597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상시 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QC 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건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425650" y="1081861"/>
        <a:ext cx="1878599" cy="740597"/>
      </dsp:txXfrm>
    </dsp:sp>
    <dsp:sp modelId="{65C0A499-92EB-45F2-949A-1B73F4D033F2}">
      <dsp:nvSpPr>
        <dsp:cNvPr id="0" name=""/>
        <dsp:cNvSpPr/>
      </dsp:nvSpPr>
      <dsp:spPr>
        <a:xfrm>
          <a:off x="4597838" y="2133509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597838" y="2133509"/>
        <a:ext cx="1534221" cy="497748"/>
      </dsp:txXfrm>
    </dsp:sp>
    <dsp:sp modelId="{C991FD64-A9E4-4E4E-9AC8-B5BEFA41DAF1}">
      <dsp:nvSpPr>
        <dsp:cNvPr id="0" name=""/>
        <dsp:cNvSpPr/>
      </dsp:nvSpPr>
      <dsp:spPr>
        <a:xfrm>
          <a:off x="4597838" y="2942308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22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년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4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월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597838" y="2942308"/>
        <a:ext cx="1534221" cy="497748"/>
      </dsp:txXfrm>
    </dsp:sp>
    <dsp:sp modelId="{4114D1DD-1AAF-41F7-A7F7-918767AF0406}">
      <dsp:nvSpPr>
        <dsp:cNvPr id="0" name=""/>
        <dsp:cNvSpPr/>
      </dsp:nvSpPr>
      <dsp:spPr>
        <a:xfrm>
          <a:off x="4981394" y="3751107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1</a:t>
          </a: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주차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4981394" y="3751107"/>
        <a:ext cx="1534221" cy="497748"/>
      </dsp:txXfrm>
    </dsp:sp>
    <dsp:sp modelId="{F64A5C08-9C7D-4E71-AB14-8CF1F43E6643}">
      <dsp:nvSpPr>
        <dsp:cNvPr id="0" name=""/>
        <dsp:cNvSpPr/>
      </dsp:nvSpPr>
      <dsp:spPr>
        <a:xfrm>
          <a:off x="6615300" y="1081861"/>
          <a:ext cx="1881295" cy="740597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미사용 테스트케이스 또는</a:t>
          </a:r>
          <a:endParaRPr lang="en-US" altLang="ko-KR" sz="1100" kern="12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  <a:p>
          <a:pPr lvl="0" algn="ctr" defTabSz="48895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종료된 프로젝트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6615300" y="1081861"/>
        <a:ext cx="1881295" cy="740597"/>
      </dsp:txXfrm>
    </dsp:sp>
    <dsp:sp modelId="{5FD5C512-6516-47ED-9F8C-384FE16B7384}">
      <dsp:nvSpPr>
        <dsp:cNvPr id="0" name=""/>
        <dsp:cNvSpPr/>
      </dsp:nvSpPr>
      <dsp:spPr>
        <a:xfrm>
          <a:off x="6788836" y="2133509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Archive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6788836" y="2133509"/>
        <a:ext cx="1534221" cy="497748"/>
      </dsp:txXfrm>
    </dsp:sp>
    <dsp:sp modelId="{B9693ECF-379B-46F1-BAA8-9600C9A06547}">
      <dsp:nvSpPr>
        <dsp:cNvPr id="0" name=""/>
        <dsp:cNvSpPr/>
      </dsp:nvSpPr>
      <dsp:spPr>
        <a:xfrm>
          <a:off x="7172392" y="2942308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프로젝트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  <a:sym typeface="아리따-돋움(OTF)-Medium"/>
            </a:rPr>
            <a:t>&amp; ARC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172392" y="2942308"/>
        <a:ext cx="1534221" cy="497748"/>
      </dsp:txXfrm>
    </dsp:sp>
    <dsp:sp modelId="{45125ABD-33BD-40C4-AB3D-5B2FB9BE1271}">
      <dsp:nvSpPr>
        <dsp:cNvPr id="0" name=""/>
        <dsp:cNvSpPr/>
      </dsp:nvSpPr>
      <dsp:spPr>
        <a:xfrm>
          <a:off x="7172392" y="3751107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운영 </a:t>
          </a:r>
          <a:r>
            <a:rPr lang="en-US" altLang="ko-KR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SR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172392" y="3751107"/>
        <a:ext cx="1534221" cy="497748"/>
      </dsp:txXfrm>
    </dsp:sp>
    <dsp:sp modelId="{27581EA2-D022-49F0-8DFE-F2E741585E66}">
      <dsp:nvSpPr>
        <dsp:cNvPr id="0" name=""/>
        <dsp:cNvSpPr/>
      </dsp:nvSpPr>
      <dsp:spPr>
        <a:xfrm>
          <a:off x="7172392" y="4559906"/>
          <a:ext cx="1534221" cy="497748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100" kern="1200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rPr>
            <a:t>상시운영점검</a:t>
          </a:r>
          <a:endParaRPr lang="ko-KR" altLang="en-US" sz="1100" kern="1200" dirty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  <a:cs typeface="+mn-cs"/>
          </a:endParaRPr>
        </a:p>
      </dsp:txBody>
      <dsp:txXfrm>
        <a:off x="7172392" y="4559906"/>
        <a:ext cx="1534221" cy="4977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4677" tIns="47338" rIns="94677" bIns="47338" rtlCol="0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4677" tIns="47338" rIns="94677" bIns="47338" rtlCol="0"/>
          <a:lstStyle>
            <a:lvl1pPr algn="r" eaLnBrk="1" fontAlgn="auto" latin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D4861EFF-0E2C-4B5C-86AC-7B9AD8D54EBA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249363" y="1279525"/>
            <a:ext cx="46053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77" tIns="47338" rIns="94677" bIns="47338" rtlCol="0" anchor="ctr"/>
          <a:lstStyle/>
          <a:p>
            <a:pPr lvl="0"/>
            <a:endParaRPr lang="ko-KR" altLang="en-US" noProof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4677" tIns="47338" rIns="94677" bIns="47338" rtlCol="0"/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4677" tIns="47338" rIns="94677" bIns="47338" rtlCol="0" anchor="b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4677" tIns="47338" rIns="94677" bIns="47338" rtlCol="0" anchor="b"/>
          <a:lstStyle>
            <a:lvl1pPr algn="r" eaLnBrk="1" fontAlgn="auto" latin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C68FAA60-93DB-42B9-A3B8-D058BD46C9AE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ko-KR" altLang="en-US" smtClean="0"/>
          </a:p>
        </p:txBody>
      </p:sp>
      <p:sp>
        <p:nvSpPr>
          <p:cNvPr id="6148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6B9F01F-E73F-4F69-A000-809FF6A2E6F0}" type="slidenum">
              <a:rPr lang="ko-KR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ko-KR" alt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테스트 케이스 수정할 때마다 버전 업데이트 </a:t>
            </a:r>
            <a:r>
              <a:rPr lang="en-US" altLang="ko-KR" dirty="0" smtClean="0"/>
              <a:t>?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92015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 smtClean="0"/>
              <a:t>테스트 </a:t>
            </a:r>
            <a:r>
              <a:rPr lang="ko-KR" altLang="en-US" sz="1200" dirty="0" err="1" smtClean="0"/>
              <a:t>환경별</a:t>
            </a:r>
            <a:r>
              <a:rPr lang="en-US" altLang="ko-KR" sz="1200" dirty="0" smtClean="0"/>
              <a:t>, </a:t>
            </a:r>
            <a:r>
              <a:rPr lang="ko-KR" altLang="en-US" sz="1200" dirty="0" err="1" smtClean="0"/>
              <a:t>서버별</a:t>
            </a:r>
            <a:r>
              <a:rPr lang="ko-KR" altLang="en-US" sz="1200" dirty="0" smtClean="0"/>
              <a:t> 구분하여 테스트사이클</a:t>
            </a:r>
            <a:r>
              <a:rPr lang="ko-KR" altLang="en-US" sz="1200" baseline="0" dirty="0" smtClean="0"/>
              <a:t> 네이밍 안</a:t>
            </a:r>
            <a:endParaRPr lang="ko-KR" altLang="en-US" sz="120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18709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</a:t>
            </a:r>
            <a:r>
              <a:rPr lang="ko-KR" altLang="en-US" sz="1200" baseline="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실행 결과 </a:t>
            </a:r>
            <a:r>
              <a:rPr lang="en-US" altLang="ko-KR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Fail </a:t>
            </a:r>
            <a:r>
              <a:rPr lang="ko-KR" altLang="en-US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에서 결함 수정 시 </a:t>
            </a:r>
            <a:r>
              <a:rPr lang="en-US" altLang="ko-KR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Pass</a:t>
            </a:r>
            <a:r>
              <a:rPr lang="ko-KR" altLang="en-US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로 </a:t>
            </a:r>
            <a:r>
              <a:rPr lang="ko-KR" altLang="en-US" sz="1200" dirty="0" err="1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변경안</a:t>
            </a:r>
            <a:r>
              <a:rPr lang="ko-KR" altLang="en-US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또는 다른 안 확인</a:t>
            </a:r>
            <a:endParaRPr lang="en-US" altLang="ko-KR" sz="1200" dirty="0" smtClean="0">
              <a:solidFill>
                <a:srgbClr val="00B0F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67305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상시 운영</a:t>
            </a:r>
            <a:r>
              <a:rPr lang="ko-KR" altLang="en-US" baseline="0" dirty="0" smtClean="0"/>
              <a:t> </a:t>
            </a:r>
            <a:r>
              <a:rPr lang="en-US" altLang="ko-KR" baseline="0" dirty="0" smtClean="0"/>
              <a:t>&gt; </a:t>
            </a:r>
            <a:r>
              <a:rPr lang="ko-KR" altLang="en-US" baseline="0" dirty="0" smtClean="0"/>
              <a:t>버그 등록 시</a:t>
            </a:r>
            <a:r>
              <a:rPr lang="en-US" altLang="ko-KR" baseline="0" dirty="0" smtClean="0"/>
              <a:t>, AP </a:t>
            </a:r>
            <a:r>
              <a:rPr lang="ko-KR" altLang="en-US" baseline="0" dirty="0" smtClean="0"/>
              <a:t>연동이 가능하도록 세팅 가능 여부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6876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7373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60019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50" dirty="0" smtClean="0"/>
              <a:t>테스트 </a:t>
            </a:r>
            <a:r>
              <a:rPr lang="ko-KR" altLang="en-US" sz="1050" dirty="0" err="1" smtClean="0"/>
              <a:t>환경별</a:t>
            </a:r>
            <a:r>
              <a:rPr lang="en-US" altLang="ko-KR" sz="1050" dirty="0" smtClean="0"/>
              <a:t>, </a:t>
            </a:r>
            <a:r>
              <a:rPr lang="ko-KR" altLang="en-US" sz="1050" dirty="0" err="1" smtClean="0"/>
              <a:t>서버별</a:t>
            </a:r>
            <a:r>
              <a:rPr lang="ko-KR" altLang="en-US" sz="1050" dirty="0" smtClean="0"/>
              <a:t> 구분하여 테스트사이클</a:t>
            </a:r>
            <a:r>
              <a:rPr lang="ko-KR" altLang="en-US" sz="1050" baseline="0" dirty="0" smtClean="0"/>
              <a:t> 네이밍 안</a:t>
            </a:r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28113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50" dirty="0" smtClean="0"/>
              <a:t>테스트 </a:t>
            </a:r>
            <a:r>
              <a:rPr lang="ko-KR" altLang="en-US" sz="1050" dirty="0" err="1" smtClean="0"/>
              <a:t>환경별</a:t>
            </a:r>
            <a:r>
              <a:rPr lang="ko-KR" altLang="en-US" sz="1050" dirty="0" smtClean="0"/>
              <a:t> 테스트사이클 생성 안</a:t>
            </a:r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31359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50" dirty="0" smtClean="0"/>
              <a:t>테스트 </a:t>
            </a:r>
            <a:r>
              <a:rPr lang="ko-KR" altLang="en-US" sz="1050" dirty="0" err="1" smtClean="0"/>
              <a:t>환경별</a:t>
            </a:r>
            <a:r>
              <a:rPr lang="ko-KR" altLang="en-US" sz="1050" dirty="0" smtClean="0"/>
              <a:t> 테스트사이클 생성 안</a:t>
            </a:r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8026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050" dirty="0" smtClean="0"/>
              <a:t>테스트 </a:t>
            </a:r>
            <a:r>
              <a:rPr lang="ko-KR" altLang="en-US" sz="1050" dirty="0" err="1" smtClean="0"/>
              <a:t>환경별</a:t>
            </a:r>
            <a:r>
              <a:rPr lang="ko-KR" altLang="en-US" sz="1050" dirty="0" smtClean="0"/>
              <a:t> 테스트사이클 생성 안</a:t>
            </a:r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757733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Step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 이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2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개 이상 시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, 1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개가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Pass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여도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나머지는</a:t>
            </a:r>
            <a:r>
              <a:rPr lang="en-US" altLang="ko-KR" sz="1200" baseline="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자동으로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Pass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처리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.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따라서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Step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은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1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개만 작성하는 걸로 통일</a:t>
            </a:r>
            <a:r>
              <a:rPr lang="ko-KR" altLang="en-US" sz="1200" baseline="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 </a:t>
            </a:r>
            <a:r>
              <a:rPr lang="en-US" altLang="ko-KR" sz="1200" baseline="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?</a:t>
            </a:r>
            <a:endParaRPr lang="en-US" altLang="ko-KR" sz="1200" dirty="0" smtClean="0">
              <a:latin typeface="아리따-돋움_TTF_Bold" panose="02020603020101020101" pitchFamily="18" charset="-127"/>
              <a:ea typeface="아리따-돋움_TTF_Bold" panose="02020603020101020101" pitchFamily="18" charset="-127"/>
              <a:sym typeface="아리따-돋움(OTF)-Medium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25807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Step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 이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2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개 이상 시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, 1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개가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Pass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여도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나머지는</a:t>
            </a:r>
            <a:r>
              <a:rPr lang="en-US" altLang="ko-KR" sz="1200" baseline="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자동으로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Pass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처리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. 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따라서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Step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은 </a:t>
            </a:r>
            <a:r>
              <a:rPr lang="en-US" altLang="ko-KR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1</a:t>
            </a:r>
            <a:r>
              <a:rPr lang="ko-KR" altLang="en-US" sz="120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개만 작성하는 걸로 통일</a:t>
            </a:r>
            <a:r>
              <a:rPr lang="ko-KR" altLang="en-US" sz="1200" baseline="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 </a:t>
            </a:r>
            <a:r>
              <a:rPr lang="en-US" altLang="ko-KR" sz="1200" baseline="0" dirty="0" smtClean="0">
                <a:latin typeface="아리따-돋움_TTF_Bold" panose="02020603020101020101" pitchFamily="18" charset="-127"/>
                <a:ea typeface="아리따-돋움_TTF_Bold" panose="02020603020101020101" pitchFamily="18" charset="-127"/>
                <a:sym typeface="아리따-돋움(OTF)-Medium"/>
              </a:rPr>
              <a:t>?</a:t>
            </a:r>
            <a:endParaRPr lang="en-US" altLang="ko-KR" sz="1200" dirty="0" smtClean="0">
              <a:latin typeface="아리따-돋움_TTF_Bold" panose="02020603020101020101" pitchFamily="18" charset="-127"/>
              <a:ea typeface="아리따-돋움_TTF_Bold" panose="02020603020101020101" pitchFamily="18" charset="-127"/>
              <a:sym typeface="아리따-돋움(OTF)-Medium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FAA60-93DB-42B9-A3B8-D058BD46C9AE}" type="slidenum">
              <a:rPr lang="ko-KR" altLang="en-US" smtClean="0"/>
              <a:pPr>
                <a:defRPr/>
              </a:pPr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1019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8133D8-6C8A-419F-95BD-31BCCECE05F6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14E04D-6D31-4599-A8DE-C203DCF09E63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80199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B9D59B-C7E8-43FF-AED6-F774FD3BB22E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7ED846-B1B4-487A-BD57-446EC4683B6A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9768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EEB9F2-F040-472B-AAEF-3BA174CDFD3C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1B679D-7BC4-4B42-AAB6-94D114876859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0397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5"/>
          <p:cNvSpPr txBox="1"/>
          <p:nvPr userDrawn="1"/>
        </p:nvSpPr>
        <p:spPr bwMode="gray">
          <a:xfrm>
            <a:off x="96838" y="6524625"/>
            <a:ext cx="2803525" cy="29210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pPr eaLnBrk="1" hangingPunct="1">
              <a:defRPr/>
            </a:pPr>
            <a:r>
              <a:rPr lang="ko-KR" altLang="en-US" sz="1292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변화를 즐기자  </a:t>
            </a:r>
            <a:r>
              <a:rPr lang="en-US" altLang="ko-KR" sz="1292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Exciting Changes</a:t>
            </a:r>
            <a:endParaRPr lang="ko-KR" altLang="en-US" sz="1292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cxnSp>
        <p:nvCxnSpPr>
          <p:cNvPr id="4" name="직선 연결선 3"/>
          <p:cNvCxnSpPr/>
          <p:nvPr userDrawn="1"/>
        </p:nvCxnSpPr>
        <p:spPr>
          <a:xfrm>
            <a:off x="184891" y="26127"/>
            <a:ext cx="8773372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제목 18"/>
          <p:cNvSpPr txBox="1">
            <a:spLocks/>
          </p:cNvSpPr>
          <p:nvPr userDrawn="1"/>
        </p:nvSpPr>
        <p:spPr>
          <a:xfrm>
            <a:off x="185738" y="119063"/>
            <a:ext cx="6446837" cy="42068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sz="1846"/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185738" y="590550"/>
            <a:ext cx="8772525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184150" y="6524625"/>
            <a:ext cx="87757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그림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875" y="6597650"/>
            <a:ext cx="1195388" cy="12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  <a:prstGeom prst="rect">
            <a:avLst/>
          </a:prstGeom>
        </p:spPr>
        <p:txBody>
          <a:bodyPr/>
          <a:lstStyle>
            <a:lvl1pPr algn="l">
              <a:defRPr lang="ko-KR" altLang="en-US" sz="1846" kern="1200" spc="-138" dirty="0" smtClean="0">
                <a:solidFill>
                  <a:srgbClr val="19396B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12" name="슬라이드 번호 개체 틀 28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gray">
          <a:xfrm>
            <a:off x="4284663" y="6524625"/>
            <a:ext cx="574675" cy="188913"/>
          </a:xfrm>
        </p:spPr>
        <p:txBody>
          <a:bodyPr/>
          <a:lstStyle>
            <a:lvl1pPr algn="ctr">
              <a:defRPr sz="1108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defRPr>
            </a:lvl1pPr>
          </a:lstStyle>
          <a:p>
            <a:pPr>
              <a:defRPr/>
            </a:pPr>
            <a:fld id="{30CF155C-744A-4911-9059-8CCB02DB4BA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216443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21" descr="Untitled-1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99" r="29625"/>
          <a:stretch>
            <a:fillRect/>
          </a:stretch>
        </p:blipFill>
        <p:spPr bwMode="auto">
          <a:xfrm>
            <a:off x="2711450" y="0"/>
            <a:ext cx="6432550" cy="582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직선 연결선 2"/>
          <p:cNvCxnSpPr/>
          <p:nvPr userDrawn="1"/>
        </p:nvCxnSpPr>
        <p:spPr>
          <a:xfrm>
            <a:off x="547688" y="3362325"/>
            <a:ext cx="5419725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직선 연결선 3"/>
          <p:cNvCxnSpPr/>
          <p:nvPr userDrawn="1"/>
        </p:nvCxnSpPr>
        <p:spPr>
          <a:xfrm>
            <a:off x="547688" y="1120775"/>
            <a:ext cx="5449887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8" y="692150"/>
            <a:ext cx="1928812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슬라이드 번호 개체 틀 28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gray">
          <a:xfrm>
            <a:off x="4284663" y="6524625"/>
            <a:ext cx="574675" cy="188913"/>
          </a:xfrm>
        </p:spPr>
        <p:txBody>
          <a:bodyPr/>
          <a:lstStyle>
            <a:lvl1pPr algn="ctr">
              <a:defRPr sz="831">
                <a:solidFill>
                  <a:prstClr val="black">
                    <a:tint val="75000"/>
                  </a:prst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defRPr>
            </a:lvl1pPr>
          </a:lstStyle>
          <a:p>
            <a:pPr>
              <a:defRPr/>
            </a:pPr>
            <a:fld id="{C51BAF36-D33E-4737-A880-E4571A4BFED9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03612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243D5-2DA5-425D-AE52-EF9E14873672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38B50-565A-48F9-ACE4-F38211D28863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822400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346329-4B6B-4C30-BE86-0C58ECFC9C1D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1A87FD-E103-473A-9DFA-A6D4BB96ADA6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02687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093400-7C7B-4D0F-98D4-BDFFCBFD4EFE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1C5C76-B132-446C-9892-6DD47C7DA8CA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8517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61039D-2452-43A5-810A-B7B616F2D436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F3A82-E266-4865-906D-2FC97B3AACD2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7940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4EC09C-8876-46BE-8E0E-31DA10A956EA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4B2435-447B-4CB7-ACCA-DE87CED93BBA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85624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14C62-E1C8-4F64-B12A-FFBE725EA097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C1DA6E-0E8A-44A3-85F7-1C4D2428B8C3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7188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9916BE-7E8E-446E-825B-2CA0AFA33669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3E2AA7-B642-4C1F-9235-8146C13281C4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23872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ko-KR" altLang="en-US" noProof="0"/>
              <a:t>그림을 추가하려면 아이콘을 클릭하십시오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482162-6669-4E88-A92F-66CA889DDA3F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1C0E1-C82D-450A-AF9A-2021E9F7D356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9778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  <a:endParaRPr lang="en-US" altLang="ko-KR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altLang="ko-KR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5EF5B57-EE1E-4337-91E3-A66F2A55E058}" type="datetimeFigureOut">
              <a:rPr lang="ko-KR" altLang="en-US"/>
              <a:pPr>
                <a:defRPr/>
              </a:pPr>
              <a:t>2022-03-3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latinLnBrk="1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latinLnBrk="1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AD9BCB48-2D46-4E04-B551-C3508C44A8D6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</p:sldLayoutIdLst>
  <p:txStyles>
    <p:titleStyle>
      <a:lvl1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맑은 고딕" panose="020B0503020000020004" pitchFamily="50" charset="-127"/>
        </a:defRPr>
      </a:lvl2pPr>
      <a:lvl3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맑은 고딕" panose="020B0503020000020004" pitchFamily="50" charset="-127"/>
        </a:defRPr>
      </a:lvl3pPr>
      <a:lvl4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맑은 고딕" panose="020B0503020000020004" pitchFamily="50" charset="-127"/>
        </a:defRPr>
      </a:lvl4pPr>
      <a:lvl5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맑은 고딕" panose="020B0503020000020004" pitchFamily="50" charset="-127"/>
        </a:defRPr>
      </a:lvl5pPr>
      <a:lvl6pPr marL="457200"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맑은 고딕" panose="020B0503020000020004" pitchFamily="50" charset="-127"/>
        </a:defRPr>
      </a:lvl6pPr>
      <a:lvl7pPr marL="914400"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맑은 고딕" panose="020B0503020000020004" pitchFamily="50" charset="-127"/>
        </a:defRPr>
      </a:lvl7pPr>
      <a:lvl8pPr marL="1371600"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맑은 고딕" panose="020B0503020000020004" pitchFamily="50" charset="-127"/>
        </a:defRPr>
      </a:lvl8pPr>
      <a:lvl9pPr marL="1828800" algn="l" rtl="0" fontAlgn="base" latinLnBrk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맑은 고딕" panose="020B0503020000020004" pitchFamily="50" charset="-127"/>
        </a:defRPr>
      </a:lvl9pPr>
    </p:titleStyle>
    <p:bodyStyle>
      <a:lvl1pPr marL="228600" indent="-228600" algn="l" rtl="0" eaLnBrk="0" fontAlgn="base" latinLnBrk="1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latinLnBrk="1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58788" y="1501775"/>
            <a:ext cx="7778750" cy="496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3100" b="1" kern="0" spc="-138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Zephyr </a:t>
            </a:r>
            <a:r>
              <a:rPr kumimoji="1" lang="ko-KR" altLang="en-US" sz="3100" b="1" kern="0" spc="-138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메뉴얼</a:t>
            </a:r>
            <a:endParaRPr kumimoji="1" lang="en-US" altLang="ko-KR" sz="3100" b="1" kern="0" spc="-138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7525" y="3438525"/>
            <a:ext cx="7720013" cy="4585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latinLnBrk="1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ko-KR" altLang="en-US" sz="14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컴즈 </a:t>
            </a:r>
            <a:endParaRPr kumimoji="1" lang="en-US" altLang="ko-KR" sz="1400" kern="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eaLnBrk="1" fontAlgn="auto" latinLnBrk="1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ko-KR" sz="14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022.04.05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2"/>
          <a:srcRect b="28083"/>
          <a:stretch/>
        </p:blipFill>
        <p:spPr>
          <a:xfrm>
            <a:off x="187279" y="846138"/>
            <a:ext cx="5322269" cy="1924771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0" name="직사각형 9"/>
          <p:cNvSpPr/>
          <p:nvPr/>
        </p:nvSpPr>
        <p:spPr>
          <a:xfrm>
            <a:off x="4563610" y="1206745"/>
            <a:ext cx="922789" cy="289546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4255093" y="1221998"/>
            <a:ext cx="3529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660046" y="845159"/>
            <a:ext cx="323312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프로젝트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폴더 선택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+ New Test Plan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릭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1. Details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Name :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일감 티켓 번호 또는 테스트 목표 입력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Plan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rcRect r="69666" b="17578"/>
          <a:stretch/>
        </p:blipFill>
        <p:spPr>
          <a:xfrm>
            <a:off x="185738" y="2865062"/>
            <a:ext cx="5323810" cy="337608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4015896"/>
              </p:ext>
            </p:extLst>
          </p:nvPr>
        </p:nvGraphicFramePr>
        <p:xfrm>
          <a:off x="5907683" y="1762634"/>
          <a:ext cx="3056930" cy="12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7299">
                  <a:extLst>
                    <a:ext uri="{9D8B030D-6E8A-4147-A177-3AD203B41FA5}">
                      <a16:colId xmlns:a16="http://schemas.microsoft.com/office/drawing/2014/main" val="770303601"/>
                    </a:ext>
                  </a:extLst>
                </a:gridCol>
                <a:gridCol w="2009631">
                  <a:extLst>
                    <a:ext uri="{9D8B030D-6E8A-4147-A177-3AD203B41FA5}">
                      <a16:colId xmlns:a16="http://schemas.microsoft.com/office/drawing/2014/main" val="2144072541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위 폴더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예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2821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프로젝트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&amp;ARC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PM-00001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3981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lvl="0" algn="ctr" latinLnBrk="1"/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운영 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SR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아모레몰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_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정기배포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_220401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99352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lvl="0" algn="ctr" latinLnBrk="1"/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시운영점검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시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_2204_1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주차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_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아모레몰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153777"/>
                  </a:ext>
                </a:extLst>
              </a:tr>
            </a:tbl>
          </a:graphicData>
        </a:graphic>
      </p:graphicFrame>
      <p:sp>
        <p:nvSpPr>
          <p:cNvPr id="9" name="직사각형 8"/>
          <p:cNvSpPr/>
          <p:nvPr/>
        </p:nvSpPr>
        <p:spPr>
          <a:xfrm>
            <a:off x="5660046" y="3143810"/>
            <a:ext cx="3233129" cy="335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Folder :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계획 대상 폴더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17849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그림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3" y="845159"/>
            <a:ext cx="5316173" cy="246299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0" name="직사각형 9"/>
          <p:cNvSpPr/>
          <p:nvPr/>
        </p:nvSpPr>
        <p:spPr>
          <a:xfrm>
            <a:off x="213284" y="1354528"/>
            <a:ext cx="720166" cy="25519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79659" y="2643107"/>
            <a:ext cx="1350691" cy="29405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653529" y="1096442"/>
            <a:ext cx="3529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5660046" y="845159"/>
            <a:ext cx="323312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 의뢰 건이 들어오면</a:t>
            </a:r>
            <a:endParaRPr lang="en-US" altLang="ko-KR" sz="1200" dirty="0" smtClean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Zephyr Scal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접속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[Tests] Tab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최상위 폴더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(All test cases)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후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New Folder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버튼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네이밍 규칙은 폴더 구조표 참고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lvl="1" indent="-244475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D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rag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nd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Drop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하여 해당 프로젝트 하위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폴더 생성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1235586" y="2373091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</a:t>
            </a:r>
            <a:r>
              <a:rPr lang="en-US" altLang="ko-KR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se -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신규 폴더 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900621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624" y="4318602"/>
            <a:ext cx="5328366" cy="207282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933" y="850305"/>
            <a:ext cx="5320691" cy="3027411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4"/>
          <a:srcRect b="56540"/>
          <a:stretch/>
        </p:blipFill>
        <p:spPr>
          <a:xfrm>
            <a:off x="4180163" y="3577640"/>
            <a:ext cx="1101139" cy="590761"/>
          </a:xfrm>
          <a:prstGeom prst="rect">
            <a:avLst/>
          </a:prstGeom>
        </p:spPr>
      </p:pic>
      <p:sp>
        <p:nvSpPr>
          <p:cNvPr id="14" name="직사각형 13"/>
          <p:cNvSpPr/>
          <p:nvPr/>
        </p:nvSpPr>
        <p:spPr>
          <a:xfrm>
            <a:off x="4846354" y="3289514"/>
            <a:ext cx="4892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1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660046" y="845159"/>
            <a:ext cx="3233129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요건 티켓 분석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1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raceability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에서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≡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버튼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하여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96838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reate Test Case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또는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87313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dd existing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Case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택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lvl="1" indent="-96838">
              <a:lnSpc>
                <a:spcPct val="150000"/>
              </a:lnSpc>
            </a:pPr>
            <a:r>
              <a:rPr lang="ko-KR" altLang="en-US" sz="14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또는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2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Zephyr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Scal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접속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Tests]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Tab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marL="360362" lvl="1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해당 폴더 선택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[+ New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릭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 </a:t>
            </a:r>
            <a:r>
              <a:rPr lang="ko-KR" altLang="en-US" sz="1200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해당 두가지 방식으로 </a:t>
            </a:r>
            <a:r>
              <a:rPr lang="en-US" altLang="ko-KR" sz="1200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Test </a:t>
            </a:r>
            <a:r>
              <a:rPr lang="en-US" altLang="ko-KR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Case </a:t>
            </a:r>
            <a:r>
              <a:rPr lang="ko-KR" altLang="en-US" sz="1200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생성 </a:t>
            </a:r>
            <a:r>
              <a:rPr lang="ko-KR" altLang="en-US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가능</a:t>
            </a:r>
            <a:endParaRPr lang="en-US" altLang="ko-KR" sz="1200" dirty="0">
              <a:solidFill>
                <a:srgbClr val="00B0F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120143" y="3561728"/>
            <a:ext cx="1186075" cy="619748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1378174" y="845469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1671439" y="4627418"/>
            <a:ext cx="517579" cy="276550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7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1663406" y="4365093"/>
            <a:ext cx="5212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2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353836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r="60065"/>
          <a:stretch/>
        </p:blipFill>
        <p:spPr>
          <a:xfrm>
            <a:off x="188624" y="852906"/>
            <a:ext cx="5327676" cy="398103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9" name="직사각형 18"/>
          <p:cNvSpPr/>
          <p:nvPr/>
        </p:nvSpPr>
        <p:spPr>
          <a:xfrm>
            <a:off x="5660046" y="845159"/>
            <a:ext cx="32331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reate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ase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택하여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직접 작성할 경우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1. Details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Name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케이스를 설명하는 제목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요약명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    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재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앞단에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BO], [FO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분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 </a:t>
            </a:r>
            <a:r>
              <a:rPr lang="en-US" altLang="ko-KR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별 작성</a:t>
            </a:r>
            <a:r>
              <a:rPr lang="en-US" altLang="ko-KR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dirty="0">
              <a:solidFill>
                <a:srgbClr val="00B0F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744013"/>
              </p:ext>
            </p:extLst>
          </p:nvPr>
        </p:nvGraphicFramePr>
        <p:xfrm>
          <a:off x="5907683" y="2045488"/>
          <a:ext cx="3056930" cy="12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7299">
                  <a:extLst>
                    <a:ext uri="{9D8B030D-6E8A-4147-A177-3AD203B41FA5}">
                      <a16:colId xmlns:a16="http://schemas.microsoft.com/office/drawing/2014/main" val="770303601"/>
                    </a:ext>
                  </a:extLst>
                </a:gridCol>
                <a:gridCol w="2009631">
                  <a:extLst>
                    <a:ext uri="{9D8B030D-6E8A-4147-A177-3AD203B41FA5}">
                      <a16:colId xmlns:a16="http://schemas.microsoft.com/office/drawing/2014/main" val="2144072541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위 폴더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예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2821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프로젝트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&amp;ARC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[FO] 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로그인 화면 이동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3981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lvl="0" algn="ctr" latinLnBrk="1"/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운영 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SR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[FO] 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로그인 화면 이동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99352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lvl="0" algn="ctr" latinLnBrk="1"/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시운영점검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[FO] 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로그인 화면 이동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153777"/>
                  </a:ext>
                </a:extLst>
              </a:tr>
            </a:tbl>
          </a:graphicData>
        </a:graphic>
      </p:graphicFrame>
      <p:sp>
        <p:nvSpPr>
          <p:cNvPr id="3" name="직사각형 2"/>
          <p:cNvSpPr/>
          <p:nvPr/>
        </p:nvSpPr>
        <p:spPr>
          <a:xfrm>
            <a:off x="5874372" y="3378432"/>
            <a:ext cx="309024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Objective :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목적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</a:t>
            </a:r>
            <a:r>
              <a:rPr lang="ko-KR" altLang="en-US" sz="1200" dirty="0">
                <a:solidFill>
                  <a:schemeClr val="accent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예</a:t>
            </a:r>
            <a:r>
              <a:rPr lang="en-US" altLang="ko-KR" sz="1200" dirty="0">
                <a:solidFill>
                  <a:schemeClr val="accent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 UI/UX, </a:t>
            </a:r>
            <a:r>
              <a:rPr lang="ko-KR" altLang="en-US" sz="1200" dirty="0">
                <a:solidFill>
                  <a:schemeClr val="accent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능</a:t>
            </a:r>
            <a:r>
              <a:rPr lang="en-US" altLang="ko-KR" sz="1200" dirty="0">
                <a:solidFill>
                  <a:schemeClr val="accent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>
                <a:solidFill>
                  <a:schemeClr val="accent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연동</a:t>
            </a:r>
            <a:r>
              <a:rPr lang="en-US" altLang="ko-KR" sz="1200" dirty="0">
                <a:solidFill>
                  <a:schemeClr val="accent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  <a:r>
              <a:rPr lang="ko-KR" altLang="en-US" sz="1200" dirty="0">
                <a:solidFill>
                  <a:schemeClr val="accent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예외처리</a:t>
            </a:r>
            <a:endParaRPr lang="en-US" altLang="ko-KR" sz="1200" dirty="0">
              <a:solidFill>
                <a:schemeClr val="accent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Precondition :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사전 조건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Folder :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해당 프로젝트 일감 티켓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39155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3"/>
          <a:srcRect l="66067" r="331" b="39811"/>
          <a:stretch/>
        </p:blipFill>
        <p:spPr>
          <a:xfrm>
            <a:off x="186373" y="3415153"/>
            <a:ext cx="4727892" cy="253479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4"/>
          <a:srcRect r="2267"/>
          <a:stretch/>
        </p:blipFill>
        <p:spPr>
          <a:xfrm>
            <a:off x="188624" y="852907"/>
            <a:ext cx="5320001" cy="2462948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9" name="직사각형 8"/>
          <p:cNvSpPr/>
          <p:nvPr/>
        </p:nvSpPr>
        <p:spPr>
          <a:xfrm>
            <a:off x="5660046" y="845159"/>
            <a:ext cx="323312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reate Test Cas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택하여 직접 작성할 경우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2. Test Script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행 순서 및 기대결과 작성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Add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step :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Steps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추가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(Step</a:t>
            </a:r>
            <a:r>
              <a:rPr lang="ko-KR" altLang="en-US" sz="11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이 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2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개 이상 시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, 1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개가 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Pass 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여도</a:t>
            </a:r>
            <a:r>
              <a:rPr lang="en-US" altLang="ko-KR" sz="11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나머지는</a:t>
            </a:r>
            <a:endParaRPr lang="en-US" altLang="ko-KR" sz="11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 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자동으로 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Pass 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처리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)</a:t>
            </a:r>
            <a:endParaRPr lang="en-US" altLang="ko-KR" sz="11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Call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to test :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기존 테스트케이스 호출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108202" y="5260975"/>
            <a:ext cx="1765423" cy="193675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직사각형 11"/>
              <p:cNvSpPr/>
              <p:nvPr/>
            </p:nvSpPr>
            <p:spPr>
              <a:xfrm>
                <a:off x="3000599" y="4996872"/>
                <a:ext cx="399468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ko-KR" altLang="en-US" sz="1200" b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아리따-돋움_TTF_Bold" panose="02020603020101020101" pitchFamily="18" charset="-127"/>
                        </a:rPr>
                        <m:t>①</m:t>
                      </m:r>
                    </m:oMath>
                  </m:oMathPara>
                </a14:m>
                <a:endParaRPr lang="ko-KR" altLang="en-US" sz="1200" b="1" dirty="0">
                  <a:solidFill>
                    <a:srgbClr val="FF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</mc:Choice>
        <mc:Fallback xmlns="">
          <p:sp>
            <p:nvSpPr>
              <p:cNvPr id="12" name="직사각형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0599" y="4996872"/>
                <a:ext cx="399468" cy="276999"/>
              </a:xfrm>
              <a:prstGeom prst="rect">
                <a:avLst/>
              </a:prstGeom>
              <a:blipFill>
                <a:blip r:embed="rId5"/>
                <a:stretch>
                  <a:fillRect b="-666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 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별 작성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399711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rcRect r="37659"/>
          <a:stretch/>
        </p:blipFill>
        <p:spPr>
          <a:xfrm>
            <a:off x="188625" y="3782838"/>
            <a:ext cx="5328366" cy="201537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24" y="845159"/>
            <a:ext cx="5328366" cy="2847079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직사각형 8"/>
              <p:cNvSpPr/>
              <p:nvPr/>
            </p:nvSpPr>
            <p:spPr>
              <a:xfrm>
                <a:off x="5660046" y="845159"/>
                <a:ext cx="3233129" cy="230832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lnSpc>
                    <a:spcPct val="150000"/>
                  </a:lnSpc>
                  <a:buFont typeface="Wingdings" panose="05000000000000000000" pitchFamily="2" charset="2"/>
                  <a:buChar char="§"/>
                </a:pPr>
                <a:r>
                  <a:rPr lang="en-US" altLang="ko-KR" sz="1200" dirty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Create Test Case </a:t>
                </a:r>
                <a:r>
                  <a:rPr lang="ko-KR" altLang="en-US" sz="1200" dirty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선택하여 직접 작성할 경우</a:t>
                </a:r>
                <a:endParaRPr lang="en-US" altLang="ko-KR" sz="1200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3. </a:t>
                </a:r>
                <a:r>
                  <a:rPr lang="ko-KR" altLang="ko-KR" sz="1200" dirty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Traceability</a:t>
                </a:r>
                <a:r>
                  <a:rPr lang="en-US" altLang="ko-KR" sz="1200" dirty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 </a:t>
                </a:r>
                <a:r>
                  <a:rPr lang="ko-KR" altLang="en-US" sz="1200" dirty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탭</a:t>
                </a:r>
                <a:endParaRPr lang="en-US" altLang="ko-KR" sz="1200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&gt; </a:t>
                </a:r>
                <a:r>
                  <a:rPr lang="ko-KR" altLang="en-US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요건 </a:t>
                </a:r>
                <a:r>
                  <a:rPr lang="ko-KR" altLang="en-US" sz="1200" dirty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티켓 연동 </a:t>
                </a:r>
                <a:r>
                  <a:rPr lang="ko-KR" altLang="en-US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확인</a:t>
                </a:r>
                <a:endParaRPr lang="en-US" altLang="ko-KR" sz="1200" dirty="0" smtClean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ko-KR" sz="1200" dirty="0" smtClean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ko-KR" altLang="en-US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</a:rPr>
                  <a:t>정보 입력이 완료되면</a:t>
                </a:r>
                <a:endParaRPr lang="en-US" altLang="ko-KR" sz="1200" dirty="0" smtClean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ko-KR" altLang="en-US" sz="120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아리따-돋움_TTF_Bold" panose="02020603020101020101" pitchFamily="18" charset="-127"/>
                      </a:rPr>
                      <m:t>①</m:t>
                    </m:r>
                  </m:oMath>
                </a14:m>
                <a:r>
                  <a:rPr lang="en-US" altLang="ko-KR" sz="1200" dirty="0">
                    <a:solidFill>
                      <a:srgbClr val="FF0000"/>
                    </a:solidFill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 </a:t>
                </a:r>
                <a:r>
                  <a:rPr lang="en-US" altLang="ko-KR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[Save] </a:t>
                </a:r>
                <a:r>
                  <a:rPr lang="ko-KR" altLang="en-US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버튼 클릭하여 테스트케이스 생성 완료</a:t>
                </a:r>
                <a:endParaRPr lang="en-US" altLang="ko-KR" sz="1200" dirty="0" smtClean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아리따-돋움(OTF)-Medium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ko-KR" altLang="en-US" sz="1200" dirty="0" smtClean="0">
                    <a:solidFill>
                      <a:srgbClr val="FF0000"/>
                    </a:solidFill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②</a:t>
                </a:r>
                <a:r>
                  <a:rPr lang="ko-KR" altLang="en-US" sz="1200" dirty="0">
                    <a:solidFill>
                      <a:srgbClr val="FF0000"/>
                    </a:solidFill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 </a:t>
                </a:r>
                <a:r>
                  <a:rPr lang="ko-KR" altLang="en-US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티켓 클릭 </a:t>
                </a:r>
                <a:r>
                  <a:rPr lang="en-US" altLang="ko-KR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&gt; </a:t>
                </a:r>
                <a:r>
                  <a:rPr lang="ko-KR" altLang="en-US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해당 티켓 화면에서 생성된 </a:t>
                </a:r>
                <a:endParaRPr lang="en-US" altLang="ko-KR" sz="1200" dirty="0" smtClean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sym typeface="아리따-돋움(OTF)-Medium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ko-KR" sz="1200" dirty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 </a:t>
                </a:r>
                <a:r>
                  <a:rPr lang="en-US" altLang="ko-KR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    </a:t>
                </a:r>
                <a:r>
                  <a:rPr lang="ko-KR" altLang="en-US" sz="1200" dirty="0" smtClean="0">
                    <a:latin typeface="아리따-돋움(TTF)-Medium" panose="02020603020101020101" pitchFamily="18" charset="-127"/>
                    <a:ea typeface="아리따-돋움(TTF)-Medium" panose="02020603020101020101" pitchFamily="18" charset="-127"/>
                    <a:sym typeface="아리따-돋움(OTF)-Medium"/>
                  </a:rPr>
                  <a:t>테스트케이스 확인 </a:t>
                </a:r>
                <a:endParaRPr lang="ko-KR" altLang="en-US" sz="1200" dirty="0"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</mc:Choice>
        <mc:Fallback xmlns="">
          <p:sp>
            <p:nvSpPr>
              <p:cNvPr id="9" name="직사각형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0046" y="845159"/>
                <a:ext cx="3233129" cy="230832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직사각형 15"/>
          <p:cNvSpPr/>
          <p:nvPr/>
        </p:nvSpPr>
        <p:spPr>
          <a:xfrm>
            <a:off x="4969164" y="969644"/>
            <a:ext cx="461818" cy="330768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직사각형 16"/>
              <p:cNvSpPr/>
              <p:nvPr/>
            </p:nvSpPr>
            <p:spPr>
              <a:xfrm>
                <a:off x="4883156" y="1280244"/>
                <a:ext cx="399468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ko-KR" altLang="en-US" sz="1200" b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아리따-돋움_TTF_Bold" panose="02020603020101020101" pitchFamily="18" charset="-127"/>
                        </a:rPr>
                        <m:t>①</m:t>
                      </m:r>
                    </m:oMath>
                  </m:oMathPara>
                </a14:m>
                <a:endParaRPr lang="ko-KR" altLang="en-US" sz="1200" b="1" dirty="0">
                  <a:solidFill>
                    <a:srgbClr val="FF0000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</mc:Choice>
        <mc:Fallback xmlns="">
          <p:sp>
            <p:nvSpPr>
              <p:cNvPr id="17" name="직사각형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3156" y="1280244"/>
                <a:ext cx="399468" cy="276999"/>
              </a:xfrm>
              <a:prstGeom prst="rect">
                <a:avLst/>
              </a:prstGeom>
              <a:blipFill>
                <a:blip r:embed="rId6"/>
                <a:stretch>
                  <a:fillRect b="-666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직사각형 18"/>
          <p:cNvSpPr/>
          <p:nvPr/>
        </p:nvSpPr>
        <p:spPr>
          <a:xfrm>
            <a:off x="441360" y="5309022"/>
            <a:ext cx="2994567" cy="334396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264339" y="2155825"/>
            <a:ext cx="2056586" cy="219075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2034105" y="1875702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 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별 작성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36326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/>
          <a:srcRect l="2624" t="4733" r="28032" b="2228"/>
          <a:stretch/>
        </p:blipFill>
        <p:spPr>
          <a:xfrm>
            <a:off x="185052" y="845159"/>
            <a:ext cx="5323574" cy="2368229"/>
          </a:xfrm>
          <a:prstGeom prst="rect">
            <a:avLst/>
          </a:prstGeom>
        </p:spPr>
      </p:pic>
      <p:sp>
        <p:nvSpPr>
          <p:cNvPr id="22" name="직사각형 21"/>
          <p:cNvSpPr/>
          <p:nvPr/>
        </p:nvSpPr>
        <p:spPr>
          <a:xfrm>
            <a:off x="5660046" y="845159"/>
            <a:ext cx="3233129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엑셀 파일로 일괄 업로드할 경우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!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엑셀 </a:t>
            </a: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파일 업로드 전 인코딩 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작업</a:t>
            </a:r>
            <a:endParaRPr lang="en-US" altLang="ko-KR" sz="1200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존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케이스 엑셀 파일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열기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필수 항목을 제외한 나머지 항목 정리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(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필수 항목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Test Title, Pre-Condition, Step, 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Expected Result)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* 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항목은 영어로만 작성</a:t>
            </a:r>
            <a:endParaRPr lang="en-US" altLang="ko-KR" sz="1200" dirty="0" smtClean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228600" indent="-228600">
              <a:lnSpc>
                <a:spcPct val="150000"/>
              </a:lnSpc>
              <a:buFont typeface="+mj-lt"/>
              <a:buAutoNum type="arabicPeriod" startAt="3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시트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sheet)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는 테스트케이스 시트만 남겨두고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모두 삭제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228600" indent="-228600">
              <a:lnSpc>
                <a:spcPct val="150000"/>
              </a:lnSpc>
              <a:buFont typeface="+mj-lt"/>
              <a:buAutoNum type="arabicPeriod" startAt="4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tep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과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Expected Result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는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:1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비율로 수정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228600" indent="-228600">
              <a:lnSpc>
                <a:spcPct val="150000"/>
              </a:lnSpc>
              <a:buFont typeface="+mj-lt"/>
              <a:buAutoNum type="arabicPeriod" startAt="4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파일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보내기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파일 형식 변경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CSV</a:t>
            </a: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-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다른 이름으로 저장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228600" indent="-228600">
              <a:lnSpc>
                <a:spcPct val="150000"/>
              </a:lnSpc>
              <a:buFont typeface="+mj-lt"/>
              <a:buAutoNum type="arabicPeriod" startAt="6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된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SV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파일 우클릭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연결 프로그램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메모장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다른 이름으로 저장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창 하단 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인코딩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영역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UTF8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택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저장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 </a:t>
            </a:r>
            <a:r>
              <a:rPr lang="en-US" altLang="ko-KR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엑셀 업로드</a:t>
            </a:r>
            <a:r>
              <a:rPr lang="en-US" altLang="ko-KR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406358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815" y="851093"/>
            <a:ext cx="5322269" cy="226181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3"/>
          <a:srcRect l="5249" t="16232" r="35856" b="33499"/>
          <a:stretch/>
        </p:blipFill>
        <p:spPr>
          <a:xfrm>
            <a:off x="185051" y="3215892"/>
            <a:ext cx="5323575" cy="2555875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0" name="직사각형 9"/>
          <p:cNvSpPr/>
          <p:nvPr/>
        </p:nvSpPr>
        <p:spPr>
          <a:xfrm>
            <a:off x="2120519" y="1917429"/>
            <a:ext cx="1367398" cy="324740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1951308" y="4095114"/>
            <a:ext cx="1557898" cy="589853"/>
          </a:xfrm>
          <a:prstGeom prst="rect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3146671" y="1642779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842270" y="3787337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660046" y="845159"/>
            <a:ext cx="323312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엑셀 파일로 일괄 업로드할 경우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Zephyr Scal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접속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[Tests] Tab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접속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해당 프로젝트의 폴더 선택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[Import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from file…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버튼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릭</a:t>
            </a:r>
            <a:endParaRPr lang="en-US" altLang="ko-KR" sz="1200" dirty="0">
              <a:solidFill>
                <a:srgbClr val="19396B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Excel CSV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버튼 클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4267200" y="840509"/>
            <a:ext cx="428136" cy="29284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3946206" y="836233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 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엑셀 업로드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15011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2"/>
          <a:srcRect r="38866"/>
          <a:stretch/>
        </p:blipFill>
        <p:spPr>
          <a:xfrm>
            <a:off x="185051" y="836613"/>
            <a:ext cx="5323574" cy="3484996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8" name="직사각형 7"/>
          <p:cNvSpPr/>
          <p:nvPr/>
        </p:nvSpPr>
        <p:spPr>
          <a:xfrm>
            <a:off x="5660046" y="845159"/>
            <a:ext cx="323312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엑셀 파일로 일괄 업로드할 경우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④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SV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파일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업로드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⑤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세팅값 입력 후 화면 하단의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Next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버튼 클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418672" y="2563738"/>
            <a:ext cx="3444025" cy="123059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3828516" y="2057263"/>
            <a:ext cx="1492628" cy="284285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756052" y="2288746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⑤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 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엑셀 업로드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503774" y="2042176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④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320086"/>
              </p:ext>
            </p:extLst>
          </p:nvPr>
        </p:nvGraphicFramePr>
        <p:xfrm>
          <a:off x="5907683" y="1768489"/>
          <a:ext cx="3056930" cy="3623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7299">
                  <a:extLst>
                    <a:ext uri="{9D8B030D-6E8A-4147-A177-3AD203B41FA5}">
                      <a16:colId xmlns:a16="http://schemas.microsoft.com/office/drawing/2014/main" val="770303601"/>
                    </a:ext>
                  </a:extLst>
                </a:gridCol>
                <a:gridCol w="2009631">
                  <a:extLst>
                    <a:ext uri="{9D8B030D-6E8A-4147-A177-3AD203B41FA5}">
                      <a16:colId xmlns:a16="http://schemas.microsoft.com/office/drawing/2014/main" val="2144072541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항목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내용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2821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Destination folder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테스트 케이스 저장 폴더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3981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Date format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테스트 케이스에 작성된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  <a:p>
                      <a:pPr latinLnBrk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날짜 포맷 설정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99352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File encoding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UTF-8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추천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2629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CSV delimiter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기본 값 추천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89581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Start import at row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테스트 케이스의 시작 행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  <a:p>
                      <a:pPr marL="0" algn="l" defTabSz="914400" rtl="0" eaLnBrk="1" latinLnBrk="1" hangingPunct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설정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(TEST CASE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의 시작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  <a:p>
                      <a:pPr marL="0" algn="l" defTabSz="914400" rtl="0" eaLnBrk="1" latinLnBrk="1" hangingPunct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위치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1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부터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ame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으로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  <a:p>
                      <a:pPr marL="0" algn="l" defTabSz="914400" rtl="0" eaLnBrk="1" latinLnBrk="1" hangingPunct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시작할 경우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로 설정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  <a:p>
                      <a:pPr marL="0" algn="l" defTabSz="914400" rtl="0" eaLnBrk="1" latinLnBrk="1" hangingPunct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* This row contains the field names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옵션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테스트 케이스 내 필드명 미기재 시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체크 해제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6195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72052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그룹 9"/>
          <p:cNvGrpSpPr/>
          <p:nvPr/>
        </p:nvGrpSpPr>
        <p:grpSpPr>
          <a:xfrm>
            <a:off x="185051" y="846453"/>
            <a:ext cx="5331322" cy="3087371"/>
            <a:chOff x="185051" y="846453"/>
            <a:chExt cx="5331322" cy="3087371"/>
          </a:xfrm>
        </p:grpSpPr>
        <p:pic>
          <p:nvPicPr>
            <p:cNvPr id="5" name="그림 4"/>
            <p:cNvPicPr>
              <a:picLocks noChangeAspect="1"/>
            </p:cNvPicPr>
            <p:nvPr/>
          </p:nvPicPr>
          <p:blipFill rotWithShape="1">
            <a:blip r:embed="rId2"/>
            <a:srcRect r="50279"/>
            <a:stretch/>
          </p:blipFill>
          <p:spPr>
            <a:xfrm>
              <a:off x="185051" y="846453"/>
              <a:ext cx="5331322" cy="308737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9" name="직사각형 8"/>
            <p:cNvSpPr/>
            <p:nvPr/>
          </p:nvSpPr>
          <p:spPr>
            <a:xfrm>
              <a:off x="360218" y="3546764"/>
              <a:ext cx="4913746" cy="3140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007" y="4022513"/>
            <a:ext cx="5328366" cy="147536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6" name="직사각형 5"/>
          <p:cNvSpPr/>
          <p:nvPr/>
        </p:nvSpPr>
        <p:spPr>
          <a:xfrm>
            <a:off x="286327" y="2170545"/>
            <a:ext cx="5033818" cy="136698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5660046" y="845159"/>
            <a:ext cx="323312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엑셀 파일로 일괄 업로드할 경우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⑥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케이스 필드명과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Zephyr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필드명 맵핑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⑦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Results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단계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엑셀에서 작성된 테스트케이스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개수만큼 등록되었는지 확인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화면 하단의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 [Close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버튼 클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008404" y="4726674"/>
            <a:ext cx="290557" cy="37714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161660" y="4415628"/>
            <a:ext cx="354714" cy="37714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962833" y="4437277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⑦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 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엑셀 업로드</a:t>
            </a:r>
            <a:r>
              <a:rPr lang="en-US" altLang="ko-KR" dirty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006906" y="1874782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⑥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88935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본 구조 이해하기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70" name="그림 6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824" y="1665871"/>
            <a:ext cx="5368801" cy="2710248"/>
          </a:xfrm>
          <a:prstGeom prst="rect">
            <a:avLst/>
          </a:prstGeom>
        </p:spPr>
      </p:pic>
      <p:sp>
        <p:nvSpPr>
          <p:cNvPr id="72" name="직사각형 71"/>
          <p:cNvSpPr/>
          <p:nvPr/>
        </p:nvSpPr>
        <p:spPr>
          <a:xfrm>
            <a:off x="5672834" y="1991931"/>
            <a:ext cx="3345048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요구사항에 따라 시스템이 정상적으로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234950" latinLnBrk="1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동작하는지를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검증하는 소규모 테스트 단위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atinLnBrk="1">
              <a:lnSpc>
                <a:spcPct val="150000"/>
              </a:lnSpc>
            </a:pPr>
            <a:r>
              <a:rPr lang="ko-KR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목표 달성을 위해 묶여진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CASE</a:t>
            </a:r>
          </a:p>
          <a:p>
            <a:pPr latinLnBrk="1"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트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케이스보다 더 넓은 범위로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</a:p>
          <a:p>
            <a:pPr lvl="1" indent="-244475" latinLnBrk="1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수행 시 사용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  <a:p>
            <a:pPr lvl="1" indent="-244475" latinLnBrk="1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특정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터 및 테스트 환경에 할당 가능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CYCLE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트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주기 그룹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.</a:t>
            </a:r>
          </a:p>
          <a:p>
            <a:pPr lvl="1" indent="-244475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배포 또는 새 프로젝트와 같은 대규모 테스트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244475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반복을 추적하기 위해 사용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  <a:p>
            <a:pPr lvl="1" indent="-244475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보고서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작성 시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진행 상황 또는 추후 프로젝트에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244475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대한 개선 사항 등 정보 제공 역할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127205" y="2544069"/>
            <a:ext cx="3529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785107" y="3219941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2199848" y="3937032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14831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수정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051" y="846040"/>
            <a:ext cx="5328366" cy="2267909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9" name="직사각형 8"/>
          <p:cNvSpPr/>
          <p:nvPr/>
        </p:nvSpPr>
        <p:spPr>
          <a:xfrm>
            <a:off x="5660046" y="845159"/>
            <a:ext cx="323312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Tests] Tab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수정하고자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하는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케이스 클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내용 수정 후 화면 상단 우측의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[Save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릭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rcRect r="45804"/>
          <a:stretch/>
        </p:blipFill>
        <p:spPr>
          <a:xfrm>
            <a:off x="179388" y="3189355"/>
            <a:ext cx="5334029" cy="311856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2" name="직사각형 11"/>
          <p:cNvSpPr/>
          <p:nvPr/>
        </p:nvSpPr>
        <p:spPr>
          <a:xfrm>
            <a:off x="2786453" y="3277615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4121697" y="1565906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353174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추가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051" y="846040"/>
            <a:ext cx="5328366" cy="2267909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7" name="직사각형 6"/>
          <p:cNvSpPr/>
          <p:nvPr/>
        </p:nvSpPr>
        <p:spPr>
          <a:xfrm>
            <a:off x="5660046" y="845159"/>
            <a:ext cx="32331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추가되어 있는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Test Case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에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+ New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릭하여 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케이스 추가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케이스 목록의 상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/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하단 확인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(Test Case Key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순으로 정렬됨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)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1591968" y="860547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1698621" y="1144589"/>
            <a:ext cx="511180" cy="26511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t="13161" r="31358"/>
          <a:stretch/>
        </p:blipFill>
        <p:spPr>
          <a:xfrm>
            <a:off x="185051" y="3195780"/>
            <a:ext cx="5328366" cy="2119409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0" name="직사각형 9"/>
          <p:cNvSpPr/>
          <p:nvPr/>
        </p:nvSpPr>
        <p:spPr>
          <a:xfrm>
            <a:off x="2004870" y="4738328"/>
            <a:ext cx="1643493" cy="26511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3595393" y="4712134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559229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정렬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5758767" y="836613"/>
            <a:ext cx="3205846" cy="125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새로 추가된 테스트케이스에 대한 중간 삽입 방법 문의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2"/>
          <a:srcRect t="13161" r="31358"/>
          <a:stretch/>
        </p:blipFill>
        <p:spPr>
          <a:xfrm>
            <a:off x="185051" y="836613"/>
            <a:ext cx="5328366" cy="2119409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3319353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버전 관리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473345" y="2235200"/>
            <a:ext cx="6188363" cy="2641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엑셀에서 테스트케이스 작성 시</a:t>
            </a:r>
            <a:r>
              <a:rPr lang="en-US" altLang="ko-KR" dirty="0" smtClean="0"/>
              <a:t>,</a:t>
            </a:r>
          </a:p>
          <a:p>
            <a:pPr algn="ctr"/>
            <a:r>
              <a:rPr lang="en-US" altLang="ko-KR" dirty="0" smtClean="0"/>
              <a:t>TC </a:t>
            </a:r>
            <a:r>
              <a:rPr lang="ko-KR" altLang="en-US" dirty="0" smtClean="0"/>
              <a:t>추가나 내용 수정 </a:t>
            </a:r>
            <a:r>
              <a:rPr lang="en-US" altLang="ko-KR" dirty="0" smtClean="0">
                <a:sym typeface="Wingdings" panose="05000000000000000000" pitchFamily="2" charset="2"/>
              </a:rPr>
              <a:t> </a:t>
            </a:r>
            <a:r>
              <a:rPr lang="ko-KR" altLang="en-US" dirty="0" smtClean="0">
                <a:sym typeface="Wingdings" panose="05000000000000000000" pitchFamily="2" charset="2"/>
              </a:rPr>
              <a:t>버전 업데이트</a:t>
            </a:r>
            <a:endParaRPr lang="en-US" altLang="ko-KR" dirty="0" smtClean="0">
              <a:sym typeface="Wingdings" panose="05000000000000000000" pitchFamily="2" charset="2"/>
            </a:endParaRPr>
          </a:p>
          <a:p>
            <a:pPr algn="ctr"/>
            <a:endParaRPr lang="en-US" altLang="ko-KR" dirty="0">
              <a:sym typeface="Wingdings" panose="05000000000000000000" pitchFamily="2" charset="2"/>
            </a:endParaRPr>
          </a:p>
          <a:p>
            <a:pPr algn="ctr"/>
            <a:r>
              <a:rPr lang="en-US" altLang="ko-KR" dirty="0" smtClean="0"/>
              <a:t>TC </a:t>
            </a:r>
            <a:r>
              <a:rPr lang="ko-KR" altLang="en-US" dirty="0" smtClean="0"/>
              <a:t>건당 버전 관리 필요 여부</a:t>
            </a:r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val="32775726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그룹 25"/>
          <p:cNvGrpSpPr/>
          <p:nvPr/>
        </p:nvGrpSpPr>
        <p:grpSpPr>
          <a:xfrm>
            <a:off x="185051" y="3573032"/>
            <a:ext cx="5325842" cy="2844831"/>
            <a:chOff x="185051" y="3573032"/>
            <a:chExt cx="5325842" cy="2844831"/>
          </a:xfrm>
        </p:grpSpPr>
        <p:grpSp>
          <p:nvGrpSpPr>
            <p:cNvPr id="23" name="그룹 22"/>
            <p:cNvGrpSpPr/>
            <p:nvPr/>
          </p:nvGrpSpPr>
          <p:grpSpPr>
            <a:xfrm>
              <a:off x="188624" y="3573032"/>
              <a:ext cx="5322269" cy="2816596"/>
              <a:chOff x="188624" y="3573032"/>
              <a:chExt cx="5322269" cy="2816596"/>
            </a:xfrm>
          </p:grpSpPr>
          <p:pic>
            <p:nvPicPr>
              <p:cNvPr id="4" name="그림 3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88624" y="3573032"/>
                <a:ext cx="5322269" cy="2816596"/>
              </a:xfrm>
              <a:prstGeom prst="rect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</a:ln>
            </p:spPr>
          </p:pic>
          <p:pic>
            <p:nvPicPr>
              <p:cNvPr id="6" name="그림 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86334" y="3591982"/>
                <a:ext cx="963986" cy="253681"/>
              </a:xfrm>
              <a:prstGeom prst="rect">
                <a:avLst/>
              </a:prstGeom>
            </p:spPr>
          </p:pic>
        </p:grpSp>
        <p:pic>
          <p:nvPicPr>
            <p:cNvPr id="25" name="그림 2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5051" y="6169545"/>
              <a:ext cx="1396099" cy="248318"/>
            </a:xfrm>
            <a:prstGeom prst="rect">
              <a:avLst/>
            </a:prstGeom>
          </p:spPr>
        </p:pic>
      </p:grpSp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as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삭제 또는 미사용 보관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5"/>
          <a:srcRect t="15250" r="38880" b="30631"/>
          <a:stretch/>
        </p:blipFill>
        <p:spPr>
          <a:xfrm>
            <a:off x="187934" y="845159"/>
            <a:ext cx="5320692" cy="2651956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8" name="직사각형 7"/>
          <p:cNvSpPr/>
          <p:nvPr/>
        </p:nvSpPr>
        <p:spPr>
          <a:xfrm>
            <a:off x="1845889" y="1049135"/>
            <a:ext cx="376015" cy="29168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5660046" y="845159"/>
            <a:ext cx="323312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Tests] Tab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사용하지 않는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케이스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택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 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rchive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좌측 프로젝트 폴더 목록 하단의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 [Archived test cases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버튼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릭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보관된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케이스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목록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노출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삭제하고자 하는 테스트케이스 선택 후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[Delete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하여 영구 삭제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1753812" y="769242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69480" y="5867200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2126181" y="3563507"/>
            <a:ext cx="390800" cy="29168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163886" y="6146700"/>
            <a:ext cx="1436313" cy="29168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2459831" y="3552366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608562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88913" y="845159"/>
            <a:ext cx="5316173" cy="2462997"/>
            <a:chOff x="188913" y="845159"/>
            <a:chExt cx="5316173" cy="2462997"/>
          </a:xfrm>
        </p:grpSpPr>
        <p:grpSp>
          <p:nvGrpSpPr>
            <p:cNvPr id="5" name="그룹 4"/>
            <p:cNvGrpSpPr/>
            <p:nvPr/>
          </p:nvGrpSpPr>
          <p:grpSpPr>
            <a:xfrm>
              <a:off x="188913" y="845159"/>
              <a:ext cx="5316173" cy="2462997"/>
              <a:chOff x="188913" y="845159"/>
              <a:chExt cx="5316173" cy="2462997"/>
            </a:xfrm>
          </p:grpSpPr>
          <p:pic>
            <p:nvPicPr>
              <p:cNvPr id="20" name="그림 19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88913" y="845159"/>
                <a:ext cx="5316173" cy="2462997"/>
              </a:xfrm>
              <a:prstGeom prst="rect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</a:ln>
            </p:spPr>
          </p:pic>
          <p:pic>
            <p:nvPicPr>
              <p:cNvPr id="3" name="그림 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18552" y="863154"/>
                <a:ext cx="1010661" cy="232398"/>
              </a:xfrm>
              <a:prstGeom prst="rect">
                <a:avLst/>
              </a:prstGeom>
            </p:spPr>
          </p:pic>
        </p:grpSp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3284" y="1178136"/>
              <a:ext cx="491561" cy="158734"/>
            </a:xfrm>
            <a:prstGeom prst="rect">
              <a:avLst/>
            </a:prstGeom>
          </p:spPr>
        </p:pic>
      </p:grpSp>
      <p:sp>
        <p:nvSpPr>
          <p:cNvPr id="10" name="직사각형 9"/>
          <p:cNvSpPr/>
          <p:nvPr/>
        </p:nvSpPr>
        <p:spPr>
          <a:xfrm>
            <a:off x="213284" y="1354528"/>
            <a:ext cx="720166" cy="25519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79659" y="2643107"/>
            <a:ext cx="1350691" cy="29405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653529" y="1077970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5660046" y="845159"/>
            <a:ext cx="323312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Zephyr Scal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접속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Cycles] Tab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최상위 폴더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(All test cases)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후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New Folder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버튼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네이밍 규칙은 폴더 구조표 참고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lvl="1" indent="-244475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D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rag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nd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Drop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하여 해당 프로젝트 하위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폴더 생성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1235586" y="2345383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Cycle -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신규 폴더 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296841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그림 20"/>
          <p:cNvPicPr>
            <a:picLocks noChangeAspect="1"/>
          </p:cNvPicPr>
          <p:nvPr/>
        </p:nvPicPr>
        <p:blipFill rotWithShape="1">
          <a:blip r:embed="rId2"/>
          <a:srcRect t="55098" b="206"/>
          <a:stretch/>
        </p:blipFill>
        <p:spPr>
          <a:xfrm>
            <a:off x="187934" y="842582"/>
            <a:ext cx="5328366" cy="193469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2807" y="1064219"/>
            <a:ext cx="1101139" cy="1359337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4155068" y="1048691"/>
            <a:ext cx="1186075" cy="1427599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660046" y="845159"/>
            <a:ext cx="327089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1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요건 티켓 화면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raceability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≡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버튼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77788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하여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reate Test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ycle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택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indent="-50800">
              <a:lnSpc>
                <a:spcPct val="150000"/>
              </a:lnSpc>
            </a:pPr>
            <a:endParaRPr lang="en-US" altLang="ko-KR" sz="1200" dirty="0" smtClean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indent="-50800"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2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Zephyr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Scal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접속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Cycles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] Tab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marL="396875" lvl="1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해당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폴더 선택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&gt; [+ New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marL="396875" lvl="1">
              <a:lnSpc>
                <a:spcPct val="150000"/>
              </a:lnSpc>
            </a:pP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indent="-60325">
              <a:lnSpc>
                <a:spcPct val="150000"/>
              </a:lnSpc>
            </a:pPr>
            <a:r>
              <a:rPr lang="en-US" altLang="ko-KR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 </a:t>
            </a:r>
            <a:r>
              <a:rPr lang="ko-KR" altLang="en-US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해당 두가지 방식으로 </a:t>
            </a:r>
            <a:r>
              <a:rPr lang="en-US" altLang="ko-KR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Test Cycle </a:t>
            </a:r>
            <a:r>
              <a:rPr lang="ko-KR" altLang="en-US" sz="1200" dirty="0" smtClean="0">
                <a:solidFill>
                  <a:srgbClr val="00B0F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생성 가능</a:t>
            </a:r>
            <a:endParaRPr lang="en-US" altLang="ko-KR" sz="1200" dirty="0" smtClean="0">
              <a:solidFill>
                <a:srgbClr val="00B0F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891719" y="799019"/>
            <a:ext cx="4892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en-US" altLang="ko-KR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1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ycl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051" y="2871282"/>
            <a:ext cx="5323574" cy="2124518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4" name="직사각형 13"/>
          <p:cNvSpPr/>
          <p:nvPr/>
        </p:nvSpPr>
        <p:spPr>
          <a:xfrm>
            <a:off x="1590979" y="3157980"/>
            <a:ext cx="511200" cy="27337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2060904" y="3162636"/>
            <a:ext cx="5212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en-US" altLang="ko-KR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-2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212997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3"/>
          <a:srcRect r="37217"/>
          <a:stretch/>
        </p:blipFill>
        <p:spPr>
          <a:xfrm>
            <a:off x="185051" y="845849"/>
            <a:ext cx="5328942" cy="432414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9" name="직사각형 18"/>
          <p:cNvSpPr/>
          <p:nvPr/>
        </p:nvSpPr>
        <p:spPr>
          <a:xfrm>
            <a:off x="5660046" y="845159"/>
            <a:ext cx="32331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Details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 Name :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케이스의 커버리지 대상이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341313" lvl="1" indent="-17463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무엇인지 파악할 수 있도록 일감 티켓 번호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서버 입력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ycl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185051" y="1583823"/>
            <a:ext cx="1375894" cy="475886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5632" y="1121890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282485" y="4376159"/>
            <a:ext cx="1952715" cy="223549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3889078"/>
              </p:ext>
            </p:extLst>
          </p:nvPr>
        </p:nvGraphicFramePr>
        <p:xfrm>
          <a:off x="5907683" y="2045488"/>
          <a:ext cx="3056930" cy="13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7299">
                  <a:extLst>
                    <a:ext uri="{9D8B030D-6E8A-4147-A177-3AD203B41FA5}">
                      <a16:colId xmlns:a16="http://schemas.microsoft.com/office/drawing/2014/main" val="770303601"/>
                    </a:ext>
                  </a:extLst>
                </a:gridCol>
                <a:gridCol w="2009631">
                  <a:extLst>
                    <a:ext uri="{9D8B030D-6E8A-4147-A177-3AD203B41FA5}">
                      <a16:colId xmlns:a16="http://schemas.microsoft.com/office/drawing/2014/main" val="2144072541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위 폴더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예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2821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프로젝트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&amp;ARC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[APM-00001] STG1</a:t>
                      </a:r>
                      <a:endParaRPr lang="ko-KR" altLang="en-US" sz="1100" b="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3981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lvl="0" algn="ctr" latinLnBrk="1"/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운영 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SR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[APM-00001] STG1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99352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lvl="0" algn="ctr" latinLnBrk="1"/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시운영점검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시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_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아모레몰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_220401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시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_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아모레몰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_</a:t>
                      </a:r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결제</a:t>
                      </a: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_220401</a:t>
                      </a:r>
                      <a:endParaRPr lang="ko-KR" altLang="en-US" sz="1100" b="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153777"/>
                  </a:ext>
                </a:extLst>
              </a:tr>
            </a:tbl>
          </a:graphicData>
        </a:graphic>
      </p:graphicFrame>
      <p:sp>
        <p:nvSpPr>
          <p:cNvPr id="2" name="직사각형 1"/>
          <p:cNvSpPr/>
          <p:nvPr/>
        </p:nvSpPr>
        <p:spPr>
          <a:xfrm>
            <a:off x="5545569" y="3462217"/>
            <a:ext cx="2706190" cy="3353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1313" lvl="1" indent="-17463"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 Folder :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해당 프로젝트 폴더 선택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4930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 rotWithShape="1">
          <a:blip r:embed="rId2"/>
          <a:srcRect r="52219" b="4795"/>
          <a:stretch/>
        </p:blipFill>
        <p:spPr>
          <a:xfrm>
            <a:off x="185051" y="845159"/>
            <a:ext cx="4848422" cy="216957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9" name="직사각형 18"/>
          <p:cNvSpPr/>
          <p:nvPr/>
        </p:nvSpPr>
        <p:spPr>
          <a:xfrm>
            <a:off x="5660046" y="845159"/>
            <a:ext cx="3233129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③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Cases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한 테스트케이스 연동 확인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(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요건 티켓 화면에서 테스트케이스 생성 후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 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reate Test Cycle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 시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자동 연동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케이스 추가는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+Add test cases] 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하여 진행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④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체크박스 선택 시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미 등록되어있는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케이스 미노출 처리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⑤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우스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오버 시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해당 상태값 확인 가능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250345" y="2490253"/>
            <a:ext cx="2016606" cy="41169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1975504" y="2217334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③</a:t>
            </a:r>
          </a:p>
        </p:txBody>
      </p:sp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ycl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388" y="3115595"/>
            <a:ext cx="5322269" cy="2505673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24" name="직사각형 23"/>
          <p:cNvSpPr/>
          <p:nvPr/>
        </p:nvSpPr>
        <p:spPr>
          <a:xfrm>
            <a:off x="3935654" y="3325091"/>
            <a:ext cx="1486091" cy="29556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3627951" y="3330956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④</a:t>
            </a:r>
          </a:p>
        </p:txBody>
      </p:sp>
      <p:grpSp>
        <p:nvGrpSpPr>
          <p:cNvPr id="38" name="그룹 37"/>
          <p:cNvGrpSpPr/>
          <p:nvPr/>
        </p:nvGrpSpPr>
        <p:grpSpPr>
          <a:xfrm>
            <a:off x="1034472" y="1588655"/>
            <a:ext cx="1815286" cy="1526940"/>
            <a:chOff x="1034472" y="1588655"/>
            <a:chExt cx="1815286" cy="1526940"/>
          </a:xfrm>
        </p:grpSpPr>
        <p:cxnSp>
          <p:nvCxnSpPr>
            <p:cNvPr id="34" name="직선 화살표 연결선 33"/>
            <p:cNvCxnSpPr/>
            <p:nvPr/>
          </p:nvCxnSpPr>
          <p:spPr>
            <a:xfrm>
              <a:off x="2849758" y="1588655"/>
              <a:ext cx="0" cy="1526940"/>
            </a:xfrm>
            <a:prstGeom prst="straightConnector1">
              <a:avLst/>
            </a:prstGeom>
            <a:ln w="952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직선 연결선 36"/>
            <p:cNvCxnSpPr/>
            <p:nvPr/>
          </p:nvCxnSpPr>
          <p:spPr>
            <a:xfrm>
              <a:off x="1034472" y="1593201"/>
              <a:ext cx="1815286" cy="0"/>
            </a:xfrm>
            <a:prstGeom prst="line">
              <a:avLst/>
            </a:prstGeom>
            <a:ln w="952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직사각형 38"/>
          <p:cNvSpPr/>
          <p:nvPr/>
        </p:nvSpPr>
        <p:spPr>
          <a:xfrm>
            <a:off x="4763503" y="3826921"/>
            <a:ext cx="707022" cy="1815053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4459801" y="3779317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⑤</a:t>
            </a:r>
          </a:p>
        </p:txBody>
      </p:sp>
    </p:spTree>
    <p:extLst>
      <p:ext uri="{BB962C8B-B14F-4D97-AF65-F5344CB8AC3E}">
        <p14:creationId xmlns:p14="http://schemas.microsoft.com/office/powerpoint/2010/main" val="163142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050" y="836613"/>
            <a:ext cx="5328366" cy="2170364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9" name="직사각형 18"/>
          <p:cNvSpPr/>
          <p:nvPr/>
        </p:nvSpPr>
        <p:spPr>
          <a:xfrm>
            <a:off x="5660046" y="845159"/>
            <a:ext cx="32331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⑥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케이스 선택 시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해당 영역 노출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lvl="1" indent="-234950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터 및 환경 설정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578501" y="1169563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⑥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ycl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66578" y="1437348"/>
            <a:ext cx="3684986" cy="29556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5382870"/>
              </p:ext>
            </p:extLst>
          </p:nvPr>
        </p:nvGraphicFramePr>
        <p:xfrm>
          <a:off x="5907683" y="1520475"/>
          <a:ext cx="3056930" cy="10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7299">
                  <a:extLst>
                    <a:ext uri="{9D8B030D-6E8A-4147-A177-3AD203B41FA5}">
                      <a16:colId xmlns:a16="http://schemas.microsoft.com/office/drawing/2014/main" val="770303601"/>
                    </a:ext>
                  </a:extLst>
                </a:gridCol>
                <a:gridCol w="2009631">
                  <a:extLst>
                    <a:ext uri="{9D8B030D-6E8A-4147-A177-3AD203B41FA5}">
                      <a16:colId xmlns:a16="http://schemas.microsoft.com/office/drawing/2014/main" val="2144072541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옵션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내용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2821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ssign</a:t>
                      </a:r>
                      <a:r>
                        <a:rPr lang="en-US" altLang="ko-KR" sz="1100" b="0" kern="1200" baseline="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environment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테스트 환경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3981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ssign</a:t>
                      </a:r>
                      <a:r>
                        <a:rPr lang="en-US" altLang="ko-KR" sz="1100" b="0" kern="1200" baseline="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Tester</a:t>
                      </a:r>
                      <a:endParaRPr lang="ko-KR" altLang="en-US" sz="1100" b="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테스터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9935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2927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본 구조 이해하기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79388" y="845159"/>
            <a:ext cx="1718740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Test Cases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폴더 구조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3" name="다이어그램 2"/>
          <p:cNvGraphicFramePr/>
          <p:nvPr>
            <p:extLst>
              <p:ext uri="{D42A27DB-BD31-4B8C-83A1-F6EECF244321}">
                <p14:modId xmlns:p14="http://schemas.microsoft.com/office/powerpoint/2010/main" val="3754387207"/>
              </p:ext>
            </p:extLst>
          </p:nvPr>
        </p:nvGraphicFramePr>
        <p:xfrm>
          <a:off x="179389" y="1007587"/>
          <a:ext cx="8713786" cy="529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968842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/>
          <a:srcRect r="27658" b="13583"/>
          <a:stretch/>
        </p:blipFill>
        <p:spPr>
          <a:xfrm>
            <a:off x="179388" y="3833660"/>
            <a:ext cx="5329237" cy="2299285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051" y="845159"/>
            <a:ext cx="5322269" cy="2901948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2" name="직사각형 11"/>
          <p:cNvSpPr/>
          <p:nvPr/>
        </p:nvSpPr>
        <p:spPr>
          <a:xfrm>
            <a:off x="205724" y="1567082"/>
            <a:ext cx="2229827" cy="54372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4990744" y="950184"/>
            <a:ext cx="443157" cy="35732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4901157" y="1287302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⑧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2635388" y="3814763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⑨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2152929" y="3853125"/>
            <a:ext cx="514071" cy="19976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ycl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661025" y="845159"/>
            <a:ext cx="3233129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⑦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raceability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&gt;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요건 티켓 연동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확인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133350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요건 티켓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에서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Create Test Cycle]</a:t>
            </a:r>
          </a:p>
          <a:p>
            <a:pPr lvl="1" indent="-133350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 시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자동 연동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</a:p>
          <a:p>
            <a:pPr marL="323850" lvl="1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티켓 연결은 우측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+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또는 검색 아이콘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133350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하여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진행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⑧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Save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하여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Cycl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 완료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⑨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Test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Player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 시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행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으로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동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2412291" y="1891777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⑦</a:t>
            </a:r>
          </a:p>
        </p:txBody>
      </p:sp>
    </p:spTree>
    <p:extLst>
      <p:ext uri="{BB962C8B-B14F-4D97-AF65-F5344CB8AC3E}">
        <p14:creationId xmlns:p14="http://schemas.microsoft.com/office/powerpoint/2010/main" val="41520839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624" y="845848"/>
            <a:ext cx="5320001" cy="257359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1" name="직사각형 10"/>
          <p:cNvSpPr/>
          <p:nvPr/>
        </p:nvSpPr>
        <p:spPr>
          <a:xfrm>
            <a:off x="5661025" y="845159"/>
            <a:ext cx="323312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①</a:t>
            </a: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Zephyr Scal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접속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[Cycles] Tab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수정하고자 하는 테스트 사이클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&gt; [Edit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릭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②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Cases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에서 테스트케이스 추가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③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D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rag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nd Drop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하여 테스트케이스 순서 변경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준비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– Test Cycle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수정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2497435" y="862638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493980" y="1114499"/>
            <a:ext cx="358180" cy="26511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 rotWithShape="1">
          <a:blip r:embed="rId3"/>
          <a:srcRect r="43602" b="11905"/>
          <a:stretch/>
        </p:blipFill>
        <p:spPr>
          <a:xfrm>
            <a:off x="185052" y="3500023"/>
            <a:ext cx="5323573" cy="2679104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37" name="직사각형 36"/>
          <p:cNvSpPr/>
          <p:nvPr/>
        </p:nvSpPr>
        <p:spPr>
          <a:xfrm>
            <a:off x="1217541" y="4339064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②</a:t>
            </a:r>
          </a:p>
        </p:txBody>
      </p:sp>
      <p:sp>
        <p:nvSpPr>
          <p:cNvPr id="38" name="직사각형 37"/>
          <p:cNvSpPr/>
          <p:nvPr/>
        </p:nvSpPr>
        <p:spPr>
          <a:xfrm>
            <a:off x="207115" y="4334137"/>
            <a:ext cx="1053360" cy="26511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428788" y="5082282"/>
            <a:ext cx="2924012" cy="958300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3325931" y="5293639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③</a:t>
            </a:r>
          </a:p>
        </p:txBody>
      </p:sp>
    </p:spTree>
    <p:extLst>
      <p:ext uri="{BB962C8B-B14F-4D97-AF65-F5344CB8AC3E}">
        <p14:creationId xmlns:p14="http://schemas.microsoft.com/office/powerpoint/2010/main" val="5642750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rcRect r="45675" b="13277"/>
          <a:stretch/>
        </p:blipFill>
        <p:spPr>
          <a:xfrm>
            <a:off x="185051" y="849464"/>
            <a:ext cx="5323574" cy="2823715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30" name="그림 29"/>
          <p:cNvPicPr>
            <a:picLocks noChangeAspect="1"/>
          </p:cNvPicPr>
          <p:nvPr/>
        </p:nvPicPr>
        <p:blipFill rotWithShape="1">
          <a:blip r:embed="rId4"/>
          <a:srcRect l="38764" t="25713" r="102" b="25953"/>
          <a:stretch/>
        </p:blipFill>
        <p:spPr>
          <a:xfrm>
            <a:off x="185051" y="3748891"/>
            <a:ext cx="5323574" cy="2016125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2" name="직사각형 11"/>
          <p:cNvSpPr/>
          <p:nvPr/>
        </p:nvSpPr>
        <p:spPr>
          <a:xfrm>
            <a:off x="1894867" y="1876425"/>
            <a:ext cx="934058" cy="1309688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3990886" y="3906989"/>
            <a:ext cx="831960" cy="115998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822846" y="3906989"/>
            <a:ext cx="449909" cy="266553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5660046" y="845159"/>
            <a:ext cx="323312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케이스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목록에서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톱니바퀴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아이콘 클릭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lvl="1" indent="-244475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결과 선택 시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,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대량 건수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결과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설정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화면 우측의 테스트케이스 상세 화면에서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 [NOT EXECUTED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버튼 클릭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결과 선택 시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   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해당 테스트케이스의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결과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설정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4984468" y="4137975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2785876" y="1927522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3662920" y="3830198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실행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660046" y="4684667"/>
            <a:ext cx="32331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실행 타이머 기능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 시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</a:t>
            </a:r>
          </a:p>
          <a:p>
            <a:pPr lvl="1" indent="-254000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In Progress]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로 자동 변경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  <a:p>
            <a:pPr lvl="1" indent="-244475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케이스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세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 Execution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</a:t>
            </a:r>
          </a:p>
          <a:p>
            <a:pPr lvl="1" indent="-244475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ctual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에서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행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시간 확인 가능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523166"/>
              </p:ext>
            </p:extLst>
          </p:nvPr>
        </p:nvGraphicFramePr>
        <p:xfrm>
          <a:off x="5907683" y="2322487"/>
          <a:ext cx="3056930" cy="226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7299">
                  <a:extLst>
                    <a:ext uri="{9D8B030D-6E8A-4147-A177-3AD203B41FA5}">
                      <a16:colId xmlns:a16="http://schemas.microsoft.com/office/drawing/2014/main" val="770303601"/>
                    </a:ext>
                  </a:extLst>
                </a:gridCol>
                <a:gridCol w="2009631">
                  <a:extLst>
                    <a:ext uri="{9D8B030D-6E8A-4147-A177-3AD203B41FA5}">
                      <a16:colId xmlns:a16="http://schemas.microsoft.com/office/drawing/2014/main" val="2144072541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옵션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b="1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내용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2821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Pass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100" b="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기대 결과</a:t>
                      </a:r>
                      <a:r>
                        <a:rPr lang="ko-KR" altLang="en-US" sz="1100" b="0" kern="1200" baseline="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일치</a:t>
                      </a:r>
                      <a:endParaRPr lang="ko-KR" altLang="en-US" sz="1100" b="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3981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Fail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기대 결과 불일치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99352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Blocked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테스트 홀드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089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Sepc out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ot Available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54488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ot Executed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테스트 실행 전</a:t>
                      </a:r>
                      <a:endParaRPr lang="en-US" altLang="ko-KR" sz="110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03732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In Progress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1100" kern="1200" dirty="0" smtClean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테스트 중</a:t>
                      </a:r>
                      <a:endParaRPr lang="en-US" altLang="ko-KR" sz="1100" kern="1200" dirty="0" smtClean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3022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29500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/>
          <p:cNvPicPr>
            <a:picLocks noChangeAspect="1"/>
          </p:cNvPicPr>
          <p:nvPr/>
        </p:nvPicPr>
        <p:blipFill rotWithShape="1">
          <a:blip r:embed="rId3"/>
          <a:srcRect t="15167" b="4977"/>
          <a:stretch/>
        </p:blipFill>
        <p:spPr>
          <a:xfrm>
            <a:off x="185051" y="836613"/>
            <a:ext cx="5340559" cy="2950296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실행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슈 및 결함 등록</a:t>
            </a:r>
            <a:endParaRPr lang="en-US" altLang="ko-KR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4434858" y="1435369"/>
            <a:ext cx="1065542" cy="775455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5660046" y="845159"/>
            <a:ext cx="323312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케이스 상세 화면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ssues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에서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우측의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▼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아이콘 클릭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Create issue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또는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Search issues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택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슈 등록 레이어 노출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이슈 등록 시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,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케이스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목록에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등록된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lvl="1" indent="-244475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이슈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건수 노출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ssues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244475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이슈 리스트 확인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254000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슈의 작업 흐름 확인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할 일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진행 중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완료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192489" y="1153702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4"/>
          <a:srcRect r="37552" b="12376"/>
          <a:stretch/>
        </p:blipFill>
        <p:spPr>
          <a:xfrm>
            <a:off x="185052" y="3859935"/>
            <a:ext cx="5323573" cy="2442571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34" name="직사각형 33"/>
          <p:cNvSpPr/>
          <p:nvPr/>
        </p:nvSpPr>
        <p:spPr>
          <a:xfrm>
            <a:off x="1977985" y="5686425"/>
            <a:ext cx="308015" cy="252990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1700566" y="5474899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2547315" y="4629150"/>
            <a:ext cx="1189660" cy="204788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465657" y="4366825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③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395338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그림 29"/>
          <p:cNvPicPr>
            <a:picLocks noChangeAspect="1"/>
          </p:cNvPicPr>
          <p:nvPr/>
        </p:nvPicPr>
        <p:blipFill rotWithShape="1">
          <a:blip r:embed="rId2"/>
          <a:srcRect l="-37" t="13432" r="50090" b="50059"/>
          <a:stretch/>
        </p:blipFill>
        <p:spPr>
          <a:xfrm>
            <a:off x="187934" y="842860"/>
            <a:ext cx="5320691" cy="2187725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pic>
        <p:nvPicPr>
          <p:cNvPr id="31" name="그림 30"/>
          <p:cNvPicPr>
            <a:picLocks noChangeAspect="1"/>
          </p:cNvPicPr>
          <p:nvPr/>
        </p:nvPicPr>
        <p:blipFill rotWithShape="1">
          <a:blip r:embed="rId3"/>
          <a:srcRect l="19734" t="58032" r="16879" b="17126"/>
          <a:stretch/>
        </p:blipFill>
        <p:spPr>
          <a:xfrm>
            <a:off x="185051" y="3109476"/>
            <a:ext cx="5323574" cy="1175893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실행 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케이스 재수행</a:t>
            </a:r>
            <a:endParaRPr lang="en-US" altLang="ko-KR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2270418" y="1742003"/>
            <a:ext cx="1070988" cy="211399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168151" y="3912635"/>
            <a:ext cx="5352432" cy="326079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5660046" y="845159"/>
            <a:ext cx="323312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이슈 수정 완료로 확인 테스트 수행할 경우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tart a New Test Execution]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클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면 하단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gt;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이전 실행 기록 리스트 노출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해당 영역 좌측의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‘&gt;’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아이콘 클릭 시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세 내용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확인 가능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2179614" y="1449826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9012" y="3613404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202038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2"/>
          <a:srcRect t="3328" r="1266"/>
          <a:stretch/>
        </p:blipFill>
        <p:spPr>
          <a:xfrm>
            <a:off x="185051" y="845159"/>
            <a:ext cx="5323574" cy="2618304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9" name="직사각형 8"/>
          <p:cNvSpPr/>
          <p:nvPr/>
        </p:nvSpPr>
        <p:spPr>
          <a:xfrm>
            <a:off x="3743835" y="1288021"/>
            <a:ext cx="1764790" cy="1990888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660046" y="845159"/>
            <a:ext cx="323312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Zephyr Scal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접속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Cycles] Tab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선택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</a:t>
            </a:r>
          </a:p>
          <a:p>
            <a:pPr lvl="1" indent="-244475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테스트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사이클별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진행률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확인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가능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indent="-244475">
              <a:lnSpc>
                <a:spcPct val="150000"/>
              </a:lnSpc>
            </a:pPr>
            <a:r>
              <a:rPr lang="ko-KR" altLang="en-US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ko-KR" altLang="en-US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우스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오버 시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케이스 현황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확인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가능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테스트 실행 </a:t>
            </a:r>
            <a:r>
              <a:rPr lang="en-US" altLang="ko-KR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</a:t>
            </a:r>
            <a:r>
              <a:rPr lang="ko-KR" altLang="en-US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진행률 확인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3418244" y="1224941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3"/>
          <a:srcRect l="13674" r="2027"/>
          <a:stretch/>
        </p:blipFill>
        <p:spPr>
          <a:xfrm>
            <a:off x="3743835" y="3843245"/>
            <a:ext cx="1764790" cy="2264193"/>
          </a:xfrm>
          <a:prstGeom prst="rect">
            <a:avLst/>
          </a:prstGeom>
        </p:spPr>
      </p:pic>
      <p:sp>
        <p:nvSpPr>
          <p:cNvPr id="15" name="직사각형 14"/>
          <p:cNvSpPr/>
          <p:nvPr/>
        </p:nvSpPr>
        <p:spPr>
          <a:xfrm>
            <a:off x="3743835" y="3838493"/>
            <a:ext cx="1764790" cy="212819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16" name="직선 화살표 연결선 15"/>
          <p:cNvCxnSpPr/>
          <p:nvPr/>
        </p:nvCxnSpPr>
        <p:spPr>
          <a:xfrm>
            <a:off x="4626230" y="3334325"/>
            <a:ext cx="0" cy="461818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직사각형 17"/>
          <p:cNvSpPr/>
          <p:nvPr/>
        </p:nvSpPr>
        <p:spPr>
          <a:xfrm>
            <a:off x="3418244" y="3776853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408791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Box 4"/>
          <p:cNvSpPr txBox="1">
            <a:spLocks noChangeArrowheads="1"/>
          </p:cNvSpPr>
          <p:nvPr/>
        </p:nvSpPr>
        <p:spPr bwMode="auto">
          <a:xfrm>
            <a:off x="185738" y="2897188"/>
            <a:ext cx="8778875" cy="659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E.O.D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85738" y="119063"/>
            <a:ext cx="6446837" cy="420687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무리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본 구조 이해하기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79388" y="845159"/>
            <a:ext cx="1750800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Test Cycles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폴더 구조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5" name="다이어그램 4"/>
          <p:cNvGraphicFramePr/>
          <p:nvPr>
            <p:extLst>
              <p:ext uri="{D42A27DB-BD31-4B8C-83A1-F6EECF244321}">
                <p14:modId xmlns:p14="http://schemas.microsoft.com/office/powerpoint/2010/main" val="700441067"/>
              </p:ext>
            </p:extLst>
          </p:nvPr>
        </p:nvGraphicFramePr>
        <p:xfrm>
          <a:off x="179389" y="1007587"/>
          <a:ext cx="8713786" cy="529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9729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본 구조 이해하기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79388" y="845159"/>
            <a:ext cx="1636987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Test Plans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폴더 구조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5" name="다이어그램 4"/>
          <p:cNvGraphicFramePr/>
          <p:nvPr>
            <p:extLst>
              <p:ext uri="{D42A27DB-BD31-4B8C-83A1-F6EECF244321}">
                <p14:modId xmlns:p14="http://schemas.microsoft.com/office/powerpoint/2010/main" val="2960789882"/>
              </p:ext>
            </p:extLst>
          </p:nvPr>
        </p:nvGraphicFramePr>
        <p:xfrm>
          <a:off x="179389" y="1063006"/>
          <a:ext cx="8713786" cy="529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7674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그룹 91"/>
          <p:cNvGrpSpPr/>
          <p:nvPr/>
        </p:nvGrpSpPr>
        <p:grpSpPr>
          <a:xfrm>
            <a:off x="179387" y="1621041"/>
            <a:ext cx="8785226" cy="4656226"/>
            <a:chOff x="179387" y="1833474"/>
            <a:chExt cx="8785226" cy="378691"/>
          </a:xfrm>
          <a:solidFill>
            <a:schemeClr val="bg1">
              <a:lumMod val="95000"/>
            </a:schemeClr>
          </a:solidFill>
        </p:grpSpPr>
        <p:sp>
          <p:nvSpPr>
            <p:cNvPr id="89" name="직사각형 88"/>
            <p:cNvSpPr/>
            <p:nvPr/>
          </p:nvSpPr>
          <p:spPr>
            <a:xfrm>
              <a:off x="179387" y="1833474"/>
              <a:ext cx="2688630" cy="378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90" name="직사각형 89"/>
            <p:cNvSpPr/>
            <p:nvPr/>
          </p:nvSpPr>
          <p:spPr>
            <a:xfrm>
              <a:off x="3227685" y="1833474"/>
              <a:ext cx="2688630" cy="378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91" name="직사각형 90"/>
            <p:cNvSpPr/>
            <p:nvPr/>
          </p:nvSpPr>
          <p:spPr>
            <a:xfrm>
              <a:off x="6275983" y="1833474"/>
              <a:ext cx="2688630" cy="378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본 구조 이해하기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79388" y="845159"/>
            <a:ext cx="1377300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프로젝트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&amp; ARC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275983" y="1214712"/>
            <a:ext cx="2688630" cy="3786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Test Case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>
          <a:xfrm>
            <a:off x="3227685" y="1214712"/>
            <a:ext cx="2688630" cy="3786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Test Cycle</a:t>
            </a:r>
            <a:endParaRPr lang="ko-KR" altLang="en-US" dirty="0"/>
          </a:p>
        </p:txBody>
      </p:sp>
      <p:grpSp>
        <p:nvGrpSpPr>
          <p:cNvPr id="59" name="그룹 58"/>
          <p:cNvGrpSpPr/>
          <p:nvPr/>
        </p:nvGrpSpPr>
        <p:grpSpPr>
          <a:xfrm>
            <a:off x="6345928" y="1778318"/>
            <a:ext cx="3082327" cy="3790261"/>
            <a:chOff x="249332" y="2110823"/>
            <a:chExt cx="3082327" cy="3790261"/>
          </a:xfrm>
        </p:grpSpPr>
        <p:sp>
          <p:nvSpPr>
            <p:cNvPr id="25" name="직사각형 24"/>
            <p:cNvSpPr/>
            <p:nvPr/>
          </p:nvSpPr>
          <p:spPr>
            <a:xfrm>
              <a:off x="1277736" y="4440365"/>
              <a:ext cx="2053923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FO] 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로그인 화면 이동</a:t>
              </a: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1277735" y="4667543"/>
              <a:ext cx="1997520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BO] 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배너 수량 제어</a:t>
              </a: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1270059" y="5652098"/>
              <a:ext cx="2053924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Mo] 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로그인 화면 이동</a:t>
              </a: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591856" y="2175849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프로젝트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&amp;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 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ARC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9332" y="2110823"/>
              <a:ext cx="342524" cy="342524"/>
            </a:xfrm>
            <a:prstGeom prst="rect">
              <a:avLst/>
            </a:prstGeom>
          </p:spPr>
        </p:pic>
        <p:sp>
          <p:nvSpPr>
            <p:cNvPr id="14" name="직사각형 13"/>
            <p:cNvSpPr/>
            <p:nvPr/>
          </p:nvSpPr>
          <p:spPr>
            <a:xfrm>
              <a:off x="929956" y="2830562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</a:p>
          </p:txBody>
        </p:sp>
        <p:pic>
          <p:nvPicPr>
            <p:cNvPr id="38" name="그림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856" y="2763211"/>
              <a:ext cx="342524" cy="342524"/>
            </a:xfrm>
            <a:prstGeom prst="rect">
              <a:avLst/>
            </a:prstGeom>
          </p:spPr>
        </p:pic>
        <p:sp>
          <p:nvSpPr>
            <p:cNvPr id="39" name="자유형 38"/>
            <p:cNvSpPr/>
            <p:nvPr/>
          </p:nvSpPr>
          <p:spPr>
            <a:xfrm rot="5400000" flipV="1">
              <a:off x="245371" y="2594227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직사각형 15"/>
            <p:cNvSpPr/>
            <p:nvPr/>
          </p:nvSpPr>
          <p:spPr>
            <a:xfrm>
              <a:off x="1270059" y="3483617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APM-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0000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40" name="그림 3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957" y="3413772"/>
              <a:ext cx="342524" cy="342524"/>
            </a:xfrm>
            <a:prstGeom prst="rect">
              <a:avLst/>
            </a:prstGeom>
          </p:spPr>
        </p:pic>
        <p:sp>
          <p:nvSpPr>
            <p:cNvPr id="42" name="자유형 41"/>
            <p:cNvSpPr/>
            <p:nvPr/>
          </p:nvSpPr>
          <p:spPr>
            <a:xfrm rot="5400000" flipV="1">
              <a:off x="583473" y="3247283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직사각형 16"/>
            <p:cNvSpPr/>
            <p:nvPr/>
          </p:nvSpPr>
          <p:spPr>
            <a:xfrm>
              <a:off x="1617514" y="4141236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PC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736" y="4068838"/>
              <a:ext cx="342524" cy="342524"/>
            </a:xfrm>
            <a:prstGeom prst="rect">
              <a:avLst/>
            </a:prstGeom>
          </p:spPr>
        </p:pic>
        <p:sp>
          <p:nvSpPr>
            <p:cNvPr id="44" name="자유형 43"/>
            <p:cNvSpPr/>
            <p:nvPr/>
          </p:nvSpPr>
          <p:spPr>
            <a:xfrm rot="5400000" flipV="1">
              <a:off x="931252" y="3902348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1617514" y="5348821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Mo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47" name="그림 4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736" y="5282694"/>
              <a:ext cx="342524" cy="342524"/>
            </a:xfrm>
            <a:prstGeom prst="rect">
              <a:avLst/>
            </a:prstGeom>
          </p:spPr>
        </p:pic>
        <p:sp>
          <p:nvSpPr>
            <p:cNvPr id="48" name="자유형 47"/>
            <p:cNvSpPr/>
            <p:nvPr/>
          </p:nvSpPr>
          <p:spPr>
            <a:xfrm rot="5400000" flipV="1">
              <a:off x="597056" y="4765763"/>
              <a:ext cx="1190098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95" name="그룹 94"/>
          <p:cNvGrpSpPr/>
          <p:nvPr/>
        </p:nvGrpSpPr>
        <p:grpSpPr>
          <a:xfrm>
            <a:off x="3482197" y="1778318"/>
            <a:ext cx="2357310" cy="2180497"/>
            <a:chOff x="3482197" y="1898390"/>
            <a:chExt cx="2357310" cy="2180497"/>
          </a:xfrm>
        </p:grpSpPr>
        <p:sp>
          <p:nvSpPr>
            <p:cNvPr id="61" name="직사각형 60"/>
            <p:cNvSpPr/>
            <p:nvPr/>
          </p:nvSpPr>
          <p:spPr>
            <a:xfrm>
              <a:off x="4162822" y="3602723"/>
              <a:ext cx="1676685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APM-00001] STG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4162821" y="3829901"/>
              <a:ext cx="1676686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APM-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00001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] PRD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64" name="직사각형 63"/>
            <p:cNvSpPr/>
            <p:nvPr/>
          </p:nvSpPr>
          <p:spPr>
            <a:xfrm>
              <a:off x="3824721" y="1963416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프로젝트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&amp;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 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ARC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65" name="그림 6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2197" y="1898390"/>
              <a:ext cx="342524" cy="342524"/>
            </a:xfrm>
            <a:prstGeom prst="rect">
              <a:avLst/>
            </a:prstGeom>
          </p:spPr>
        </p:pic>
        <p:sp>
          <p:nvSpPr>
            <p:cNvPr id="66" name="직사각형 65"/>
            <p:cNvSpPr/>
            <p:nvPr/>
          </p:nvSpPr>
          <p:spPr>
            <a:xfrm>
              <a:off x="4162821" y="2618129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</a:p>
          </p:txBody>
        </p:sp>
        <p:pic>
          <p:nvPicPr>
            <p:cNvPr id="67" name="그림 6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4721" y="2550778"/>
              <a:ext cx="342524" cy="342524"/>
            </a:xfrm>
            <a:prstGeom prst="rect">
              <a:avLst/>
            </a:prstGeom>
          </p:spPr>
        </p:pic>
        <p:sp>
          <p:nvSpPr>
            <p:cNvPr id="68" name="자유형 67"/>
            <p:cNvSpPr/>
            <p:nvPr/>
          </p:nvSpPr>
          <p:spPr>
            <a:xfrm rot="5400000" flipV="1">
              <a:off x="3478236" y="2381794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9" name="직사각형 68"/>
            <p:cNvSpPr/>
            <p:nvPr/>
          </p:nvSpPr>
          <p:spPr>
            <a:xfrm>
              <a:off x="4502924" y="3271184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APM-0000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70" name="그림 6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2822" y="3201339"/>
              <a:ext cx="342524" cy="342524"/>
            </a:xfrm>
            <a:prstGeom prst="rect">
              <a:avLst/>
            </a:prstGeom>
          </p:spPr>
        </p:pic>
        <p:sp>
          <p:nvSpPr>
            <p:cNvPr id="71" name="자유형 70"/>
            <p:cNvSpPr/>
            <p:nvPr/>
          </p:nvSpPr>
          <p:spPr>
            <a:xfrm rot="5400000" flipV="1">
              <a:off x="3816338" y="3034850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직사각형 6"/>
          <p:cNvSpPr/>
          <p:nvPr/>
        </p:nvSpPr>
        <p:spPr>
          <a:xfrm>
            <a:off x="185051" y="1214712"/>
            <a:ext cx="2688630" cy="3786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Test Plan</a:t>
            </a:r>
            <a:endParaRPr lang="ko-KR" altLang="en-US" dirty="0"/>
          </a:p>
        </p:txBody>
      </p:sp>
      <p:grpSp>
        <p:nvGrpSpPr>
          <p:cNvPr id="94" name="그룹 93"/>
          <p:cNvGrpSpPr/>
          <p:nvPr/>
        </p:nvGrpSpPr>
        <p:grpSpPr>
          <a:xfrm>
            <a:off x="616966" y="1778318"/>
            <a:ext cx="2022917" cy="1302949"/>
            <a:chOff x="616966" y="1898390"/>
            <a:chExt cx="2022917" cy="1302949"/>
          </a:xfrm>
        </p:grpSpPr>
        <p:sp>
          <p:nvSpPr>
            <p:cNvPr id="80" name="직사각형 79"/>
            <p:cNvSpPr/>
            <p:nvPr/>
          </p:nvSpPr>
          <p:spPr>
            <a:xfrm>
              <a:off x="959490" y="1963416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프로젝트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&amp;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 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ARC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81" name="그림 8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966" y="1898390"/>
              <a:ext cx="342524" cy="342524"/>
            </a:xfrm>
            <a:prstGeom prst="rect">
              <a:avLst/>
            </a:prstGeom>
          </p:spPr>
        </p:pic>
        <p:sp>
          <p:nvSpPr>
            <p:cNvPr id="82" name="직사각형 81"/>
            <p:cNvSpPr/>
            <p:nvPr/>
          </p:nvSpPr>
          <p:spPr>
            <a:xfrm>
              <a:off x="1297590" y="2618129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</a:p>
          </p:txBody>
        </p:sp>
        <p:pic>
          <p:nvPicPr>
            <p:cNvPr id="83" name="그림 8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9490" y="2550778"/>
              <a:ext cx="342524" cy="342524"/>
            </a:xfrm>
            <a:prstGeom prst="rect">
              <a:avLst/>
            </a:prstGeom>
          </p:spPr>
        </p:pic>
        <p:sp>
          <p:nvSpPr>
            <p:cNvPr id="84" name="자유형 83"/>
            <p:cNvSpPr/>
            <p:nvPr/>
          </p:nvSpPr>
          <p:spPr>
            <a:xfrm rot="5400000" flipV="1">
              <a:off x="613005" y="2381794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8" name="직사각형 87"/>
            <p:cNvSpPr/>
            <p:nvPr/>
          </p:nvSpPr>
          <p:spPr>
            <a:xfrm>
              <a:off x="963198" y="2952353"/>
              <a:ext cx="1676685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APM-0000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6163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그룹 91"/>
          <p:cNvGrpSpPr/>
          <p:nvPr/>
        </p:nvGrpSpPr>
        <p:grpSpPr>
          <a:xfrm>
            <a:off x="179387" y="1621041"/>
            <a:ext cx="8785226" cy="4656226"/>
            <a:chOff x="179387" y="1833474"/>
            <a:chExt cx="8785226" cy="378691"/>
          </a:xfrm>
          <a:solidFill>
            <a:schemeClr val="bg1">
              <a:lumMod val="95000"/>
            </a:schemeClr>
          </a:solidFill>
        </p:grpSpPr>
        <p:sp>
          <p:nvSpPr>
            <p:cNvPr id="89" name="직사각형 88"/>
            <p:cNvSpPr/>
            <p:nvPr/>
          </p:nvSpPr>
          <p:spPr>
            <a:xfrm>
              <a:off x="179387" y="1833474"/>
              <a:ext cx="2688630" cy="378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90" name="직사각형 89"/>
            <p:cNvSpPr/>
            <p:nvPr/>
          </p:nvSpPr>
          <p:spPr>
            <a:xfrm>
              <a:off x="3227685" y="1833474"/>
              <a:ext cx="2688630" cy="378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91" name="직사각형 90"/>
            <p:cNvSpPr/>
            <p:nvPr/>
          </p:nvSpPr>
          <p:spPr>
            <a:xfrm>
              <a:off x="6275983" y="1833474"/>
              <a:ext cx="2688630" cy="378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본 구조 이해하기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79388" y="845159"/>
            <a:ext cx="854721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운영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R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275983" y="1214712"/>
            <a:ext cx="2688630" cy="3786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Test Case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>
          <a:xfrm>
            <a:off x="3227685" y="1214712"/>
            <a:ext cx="2688630" cy="3786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Test Cycle</a:t>
            </a:r>
            <a:endParaRPr lang="ko-KR" altLang="en-US" dirty="0"/>
          </a:p>
        </p:txBody>
      </p:sp>
      <p:grpSp>
        <p:nvGrpSpPr>
          <p:cNvPr id="59" name="그룹 58"/>
          <p:cNvGrpSpPr/>
          <p:nvPr/>
        </p:nvGrpSpPr>
        <p:grpSpPr>
          <a:xfrm>
            <a:off x="6345928" y="1778315"/>
            <a:ext cx="3082327" cy="3790261"/>
            <a:chOff x="249332" y="2110823"/>
            <a:chExt cx="3082327" cy="3790261"/>
          </a:xfrm>
        </p:grpSpPr>
        <p:sp>
          <p:nvSpPr>
            <p:cNvPr id="25" name="직사각형 24"/>
            <p:cNvSpPr/>
            <p:nvPr/>
          </p:nvSpPr>
          <p:spPr>
            <a:xfrm>
              <a:off x="1277736" y="4440365"/>
              <a:ext cx="2053923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FO] 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로그인 화면 이동</a:t>
              </a: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1277735" y="4667543"/>
              <a:ext cx="1997520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BO] 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배너 수량 제어</a:t>
              </a: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1270059" y="5652098"/>
              <a:ext cx="2053924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Mo] 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로그인 화면 이동</a:t>
              </a: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591856" y="2175849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운영 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SR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9332" y="2110823"/>
              <a:ext cx="342524" cy="342524"/>
            </a:xfrm>
            <a:prstGeom prst="rect">
              <a:avLst/>
            </a:prstGeom>
          </p:spPr>
        </p:pic>
        <p:sp>
          <p:nvSpPr>
            <p:cNvPr id="14" name="직사각형 13"/>
            <p:cNvSpPr/>
            <p:nvPr/>
          </p:nvSpPr>
          <p:spPr>
            <a:xfrm>
              <a:off x="929956" y="2830562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</a:p>
          </p:txBody>
        </p:sp>
        <p:pic>
          <p:nvPicPr>
            <p:cNvPr id="38" name="그림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856" y="2763211"/>
              <a:ext cx="342524" cy="342524"/>
            </a:xfrm>
            <a:prstGeom prst="rect">
              <a:avLst/>
            </a:prstGeom>
          </p:spPr>
        </p:pic>
        <p:sp>
          <p:nvSpPr>
            <p:cNvPr id="39" name="자유형 38"/>
            <p:cNvSpPr/>
            <p:nvPr/>
          </p:nvSpPr>
          <p:spPr>
            <a:xfrm rot="5400000" flipV="1">
              <a:off x="245371" y="2594227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직사각형 15"/>
            <p:cNvSpPr/>
            <p:nvPr/>
          </p:nvSpPr>
          <p:spPr>
            <a:xfrm>
              <a:off x="1270059" y="3483617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APM-0000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40" name="그림 3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957" y="3413772"/>
              <a:ext cx="342524" cy="342524"/>
            </a:xfrm>
            <a:prstGeom prst="rect">
              <a:avLst/>
            </a:prstGeom>
          </p:spPr>
        </p:pic>
        <p:sp>
          <p:nvSpPr>
            <p:cNvPr id="42" name="자유형 41"/>
            <p:cNvSpPr/>
            <p:nvPr/>
          </p:nvSpPr>
          <p:spPr>
            <a:xfrm rot="5400000" flipV="1">
              <a:off x="583473" y="3247283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직사각형 16"/>
            <p:cNvSpPr/>
            <p:nvPr/>
          </p:nvSpPr>
          <p:spPr>
            <a:xfrm>
              <a:off x="1617514" y="4141236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PC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736" y="4068838"/>
              <a:ext cx="342524" cy="342524"/>
            </a:xfrm>
            <a:prstGeom prst="rect">
              <a:avLst/>
            </a:prstGeom>
          </p:spPr>
        </p:pic>
        <p:sp>
          <p:nvSpPr>
            <p:cNvPr id="44" name="자유형 43"/>
            <p:cNvSpPr/>
            <p:nvPr/>
          </p:nvSpPr>
          <p:spPr>
            <a:xfrm rot="5400000" flipV="1">
              <a:off x="931252" y="3902348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1617514" y="5348821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Mo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47" name="그림 4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736" y="5282694"/>
              <a:ext cx="342524" cy="342524"/>
            </a:xfrm>
            <a:prstGeom prst="rect">
              <a:avLst/>
            </a:prstGeom>
          </p:spPr>
        </p:pic>
        <p:sp>
          <p:nvSpPr>
            <p:cNvPr id="48" name="자유형 47"/>
            <p:cNvSpPr/>
            <p:nvPr/>
          </p:nvSpPr>
          <p:spPr>
            <a:xfrm rot="5400000" flipV="1">
              <a:off x="597056" y="4765763"/>
              <a:ext cx="1190098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직사각형 6"/>
          <p:cNvSpPr/>
          <p:nvPr/>
        </p:nvSpPr>
        <p:spPr>
          <a:xfrm>
            <a:off x="185051" y="1214712"/>
            <a:ext cx="2688630" cy="3786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Test Plan</a:t>
            </a:r>
            <a:endParaRPr lang="ko-KR" altLang="en-US" dirty="0"/>
          </a:p>
        </p:txBody>
      </p:sp>
      <p:grpSp>
        <p:nvGrpSpPr>
          <p:cNvPr id="49" name="그룹 48"/>
          <p:cNvGrpSpPr/>
          <p:nvPr/>
        </p:nvGrpSpPr>
        <p:grpSpPr>
          <a:xfrm>
            <a:off x="414409" y="1778315"/>
            <a:ext cx="2624869" cy="2991837"/>
            <a:chOff x="3482197" y="1898390"/>
            <a:chExt cx="2624869" cy="2991837"/>
          </a:xfrm>
        </p:grpSpPr>
        <p:sp>
          <p:nvSpPr>
            <p:cNvPr id="50" name="직사각형 49"/>
            <p:cNvSpPr/>
            <p:nvPr/>
          </p:nvSpPr>
          <p:spPr>
            <a:xfrm>
              <a:off x="4162822" y="3602723"/>
              <a:ext cx="1820030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정기배포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22040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52" name="직사각형 51"/>
            <p:cNvSpPr/>
            <p:nvPr/>
          </p:nvSpPr>
          <p:spPr>
            <a:xfrm>
              <a:off x="3824721" y="1963416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운영 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SR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53" name="그림 5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2197" y="1898390"/>
              <a:ext cx="342524" cy="342524"/>
            </a:xfrm>
            <a:prstGeom prst="rect">
              <a:avLst/>
            </a:prstGeom>
          </p:spPr>
        </p:pic>
        <p:sp>
          <p:nvSpPr>
            <p:cNvPr id="54" name="직사각형 53"/>
            <p:cNvSpPr/>
            <p:nvPr/>
          </p:nvSpPr>
          <p:spPr>
            <a:xfrm>
              <a:off x="4162821" y="2618129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55" name="그림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4721" y="2550778"/>
              <a:ext cx="342524" cy="342524"/>
            </a:xfrm>
            <a:prstGeom prst="rect">
              <a:avLst/>
            </a:prstGeom>
          </p:spPr>
        </p:pic>
        <p:sp>
          <p:nvSpPr>
            <p:cNvPr id="56" name="자유형 55"/>
            <p:cNvSpPr/>
            <p:nvPr/>
          </p:nvSpPr>
          <p:spPr>
            <a:xfrm rot="5400000" flipV="1">
              <a:off x="3478236" y="2381794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4502924" y="3271184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정기배포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58" name="그림 5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2822" y="3201339"/>
              <a:ext cx="342524" cy="342524"/>
            </a:xfrm>
            <a:prstGeom prst="rect">
              <a:avLst/>
            </a:prstGeom>
          </p:spPr>
        </p:pic>
        <p:sp>
          <p:nvSpPr>
            <p:cNvPr id="60" name="자유형 59"/>
            <p:cNvSpPr/>
            <p:nvPr/>
          </p:nvSpPr>
          <p:spPr>
            <a:xfrm rot="5400000" flipV="1">
              <a:off x="3816338" y="3034850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직사각형 62"/>
            <p:cNvSpPr/>
            <p:nvPr/>
          </p:nvSpPr>
          <p:spPr>
            <a:xfrm>
              <a:off x="4502924" y="4290903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긴급배포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72" name="그림 7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2822" y="4221058"/>
              <a:ext cx="342524" cy="342524"/>
            </a:xfrm>
            <a:prstGeom prst="rect">
              <a:avLst/>
            </a:prstGeom>
          </p:spPr>
        </p:pic>
        <p:sp>
          <p:nvSpPr>
            <p:cNvPr id="73" name="자유형 72"/>
            <p:cNvSpPr/>
            <p:nvPr/>
          </p:nvSpPr>
          <p:spPr>
            <a:xfrm rot="5400000" flipV="1">
              <a:off x="3567331" y="3805563"/>
              <a:ext cx="1019719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4" name="직사각형 73"/>
            <p:cNvSpPr/>
            <p:nvPr/>
          </p:nvSpPr>
          <p:spPr>
            <a:xfrm>
              <a:off x="4162822" y="4641241"/>
              <a:ext cx="1944244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긴급배포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22040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  <p:grpSp>
        <p:nvGrpSpPr>
          <p:cNvPr id="101" name="그룹 100"/>
          <p:cNvGrpSpPr/>
          <p:nvPr/>
        </p:nvGrpSpPr>
        <p:grpSpPr>
          <a:xfrm>
            <a:off x="3302008" y="1778315"/>
            <a:ext cx="3082327" cy="3279547"/>
            <a:chOff x="249332" y="2110823"/>
            <a:chExt cx="3082327" cy="3279547"/>
          </a:xfrm>
        </p:grpSpPr>
        <p:sp>
          <p:nvSpPr>
            <p:cNvPr id="102" name="직사각형 101"/>
            <p:cNvSpPr/>
            <p:nvPr/>
          </p:nvSpPr>
          <p:spPr>
            <a:xfrm>
              <a:off x="1277736" y="4458837"/>
              <a:ext cx="2053923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APM-00001] STG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03" name="직사각형 102"/>
            <p:cNvSpPr/>
            <p:nvPr/>
          </p:nvSpPr>
          <p:spPr>
            <a:xfrm>
              <a:off x="1277735" y="4686015"/>
              <a:ext cx="1997520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APM-00001] PRD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05" name="직사각형 104"/>
            <p:cNvSpPr/>
            <p:nvPr/>
          </p:nvSpPr>
          <p:spPr>
            <a:xfrm>
              <a:off x="591856" y="2175849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운영 </a:t>
              </a:r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SR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106" name="그림 10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9332" y="2110823"/>
              <a:ext cx="342524" cy="342524"/>
            </a:xfrm>
            <a:prstGeom prst="rect">
              <a:avLst/>
            </a:prstGeom>
          </p:spPr>
        </p:pic>
        <p:sp>
          <p:nvSpPr>
            <p:cNvPr id="107" name="직사각형 106"/>
            <p:cNvSpPr/>
            <p:nvPr/>
          </p:nvSpPr>
          <p:spPr>
            <a:xfrm>
              <a:off x="929956" y="2830562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</a:p>
          </p:txBody>
        </p:sp>
        <p:pic>
          <p:nvPicPr>
            <p:cNvPr id="108" name="그림 10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856" y="2763211"/>
              <a:ext cx="342524" cy="342524"/>
            </a:xfrm>
            <a:prstGeom prst="rect">
              <a:avLst/>
            </a:prstGeom>
          </p:spPr>
        </p:pic>
        <p:sp>
          <p:nvSpPr>
            <p:cNvPr id="109" name="자유형 108"/>
            <p:cNvSpPr/>
            <p:nvPr/>
          </p:nvSpPr>
          <p:spPr>
            <a:xfrm rot="5400000" flipV="1">
              <a:off x="245371" y="2594227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0" name="직사각형 109"/>
            <p:cNvSpPr/>
            <p:nvPr/>
          </p:nvSpPr>
          <p:spPr>
            <a:xfrm>
              <a:off x="1270059" y="3483617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정기배포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111" name="그림 1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957" y="3413772"/>
              <a:ext cx="342524" cy="342524"/>
            </a:xfrm>
            <a:prstGeom prst="rect">
              <a:avLst/>
            </a:prstGeom>
          </p:spPr>
        </p:pic>
        <p:sp>
          <p:nvSpPr>
            <p:cNvPr id="112" name="자유형 111"/>
            <p:cNvSpPr/>
            <p:nvPr/>
          </p:nvSpPr>
          <p:spPr>
            <a:xfrm rot="5400000" flipV="1">
              <a:off x="583473" y="3247283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3" name="직사각형 112"/>
            <p:cNvSpPr/>
            <p:nvPr/>
          </p:nvSpPr>
          <p:spPr>
            <a:xfrm>
              <a:off x="1617514" y="3988864"/>
              <a:ext cx="1165507" cy="40143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spc="-15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  <a:r>
                <a:rPr lang="en-US" altLang="ko-KR" sz="1100" spc="-15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</a:t>
              </a:r>
              <a:r>
                <a:rPr lang="ko-KR" altLang="en-US" sz="1100" spc="-15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정기배포</a:t>
              </a:r>
              <a:r>
                <a:rPr lang="en-US" altLang="ko-KR" sz="1100" spc="-15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220401</a:t>
              </a:r>
              <a:endParaRPr lang="ko-KR" altLang="en-US" sz="1100" spc="-15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114" name="그림 1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736" y="4068838"/>
              <a:ext cx="342524" cy="342524"/>
            </a:xfrm>
            <a:prstGeom prst="rect">
              <a:avLst/>
            </a:prstGeom>
          </p:spPr>
        </p:pic>
        <p:sp>
          <p:nvSpPr>
            <p:cNvPr id="115" name="자유형 114"/>
            <p:cNvSpPr/>
            <p:nvPr/>
          </p:nvSpPr>
          <p:spPr>
            <a:xfrm rot="5400000" flipV="1">
              <a:off x="931252" y="3902348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1" name="직사각형 120"/>
            <p:cNvSpPr/>
            <p:nvPr/>
          </p:nvSpPr>
          <p:spPr>
            <a:xfrm>
              <a:off x="1277736" y="4914206"/>
              <a:ext cx="2053923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APM-00002] STG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22" name="직사각형 121"/>
            <p:cNvSpPr/>
            <p:nvPr/>
          </p:nvSpPr>
          <p:spPr>
            <a:xfrm>
              <a:off x="1277735" y="5141384"/>
              <a:ext cx="1997520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APM-00002] PRD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3376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그룹 91"/>
          <p:cNvGrpSpPr/>
          <p:nvPr/>
        </p:nvGrpSpPr>
        <p:grpSpPr>
          <a:xfrm>
            <a:off x="179387" y="1621041"/>
            <a:ext cx="8785226" cy="4656226"/>
            <a:chOff x="179387" y="1833474"/>
            <a:chExt cx="8785226" cy="378691"/>
          </a:xfrm>
          <a:solidFill>
            <a:schemeClr val="bg1">
              <a:lumMod val="95000"/>
            </a:schemeClr>
          </a:solidFill>
        </p:grpSpPr>
        <p:sp>
          <p:nvSpPr>
            <p:cNvPr id="89" name="직사각형 88"/>
            <p:cNvSpPr/>
            <p:nvPr/>
          </p:nvSpPr>
          <p:spPr>
            <a:xfrm>
              <a:off x="179387" y="1833474"/>
              <a:ext cx="2688630" cy="378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90" name="직사각형 89"/>
            <p:cNvSpPr/>
            <p:nvPr/>
          </p:nvSpPr>
          <p:spPr>
            <a:xfrm>
              <a:off x="3227685" y="1833474"/>
              <a:ext cx="2688630" cy="378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91" name="직사각형 90"/>
            <p:cNvSpPr/>
            <p:nvPr/>
          </p:nvSpPr>
          <p:spPr>
            <a:xfrm>
              <a:off x="6275983" y="1833474"/>
              <a:ext cx="2688630" cy="3786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본 구조 이해하기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79388" y="845159"/>
            <a:ext cx="1176925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시운영점검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6275983" y="1214712"/>
            <a:ext cx="2688630" cy="3786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Test Case</a:t>
            </a: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>
          <a:xfrm>
            <a:off x="3227685" y="1214712"/>
            <a:ext cx="2688630" cy="3786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Test Cycle</a:t>
            </a:r>
            <a:endParaRPr lang="ko-KR" altLang="en-US" dirty="0"/>
          </a:p>
        </p:txBody>
      </p:sp>
      <p:grpSp>
        <p:nvGrpSpPr>
          <p:cNvPr id="59" name="그룹 58"/>
          <p:cNvGrpSpPr/>
          <p:nvPr/>
        </p:nvGrpSpPr>
        <p:grpSpPr>
          <a:xfrm>
            <a:off x="6345928" y="1778322"/>
            <a:ext cx="3082327" cy="4274887"/>
            <a:chOff x="249332" y="2110823"/>
            <a:chExt cx="3082327" cy="4274887"/>
          </a:xfrm>
        </p:grpSpPr>
        <p:sp>
          <p:nvSpPr>
            <p:cNvPr id="25" name="직사각형 24"/>
            <p:cNvSpPr/>
            <p:nvPr/>
          </p:nvSpPr>
          <p:spPr>
            <a:xfrm>
              <a:off x="1277736" y="4214037"/>
              <a:ext cx="2053923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FO] 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로그인 화면 이동</a:t>
              </a: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591856" y="2175849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상시운영점검</a:t>
              </a:r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929956" y="2735312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</a:p>
          </p:txBody>
        </p:sp>
        <p:pic>
          <p:nvPicPr>
            <p:cNvPr id="38" name="그림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856" y="2667961"/>
              <a:ext cx="342524" cy="342524"/>
            </a:xfrm>
            <a:prstGeom prst="rect">
              <a:avLst/>
            </a:prstGeom>
          </p:spPr>
        </p:pic>
        <p:sp>
          <p:nvSpPr>
            <p:cNvPr id="39" name="자유형 38"/>
            <p:cNvSpPr/>
            <p:nvPr/>
          </p:nvSpPr>
          <p:spPr>
            <a:xfrm rot="5400000" flipV="1">
              <a:off x="292229" y="2545835"/>
              <a:ext cx="427990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직사각형 15"/>
            <p:cNvSpPr/>
            <p:nvPr/>
          </p:nvSpPr>
          <p:spPr>
            <a:xfrm>
              <a:off x="1270059" y="3336298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주요 기능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40" name="그림 3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957" y="3266453"/>
              <a:ext cx="342524" cy="342524"/>
            </a:xfrm>
            <a:prstGeom prst="rect">
              <a:avLst/>
            </a:prstGeom>
          </p:spPr>
        </p:pic>
        <p:sp>
          <p:nvSpPr>
            <p:cNvPr id="42" name="자유형 41"/>
            <p:cNvSpPr/>
            <p:nvPr/>
          </p:nvSpPr>
          <p:spPr>
            <a:xfrm rot="5400000" flipV="1">
              <a:off x="583473" y="3152033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직사각형 16"/>
            <p:cNvSpPr/>
            <p:nvPr/>
          </p:nvSpPr>
          <p:spPr>
            <a:xfrm>
              <a:off x="1617514" y="3946570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PC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736" y="3874172"/>
              <a:ext cx="342524" cy="342524"/>
            </a:xfrm>
            <a:prstGeom prst="rect">
              <a:avLst/>
            </a:prstGeom>
          </p:spPr>
        </p:pic>
        <p:sp>
          <p:nvSpPr>
            <p:cNvPr id="44" name="자유형 43"/>
            <p:cNvSpPr/>
            <p:nvPr/>
          </p:nvSpPr>
          <p:spPr>
            <a:xfrm rot="5400000" flipV="1">
              <a:off x="903883" y="3779730"/>
              <a:ext cx="576443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1270059" y="5403282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결제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64" name="그림 6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957" y="5333437"/>
              <a:ext cx="342524" cy="342524"/>
            </a:xfrm>
            <a:prstGeom prst="rect">
              <a:avLst/>
            </a:prstGeom>
          </p:spPr>
        </p:pic>
        <p:sp>
          <p:nvSpPr>
            <p:cNvPr id="65" name="자유형 64"/>
            <p:cNvSpPr/>
            <p:nvPr/>
          </p:nvSpPr>
          <p:spPr>
            <a:xfrm rot="5400000" flipV="1">
              <a:off x="-161920" y="4421557"/>
              <a:ext cx="2012492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1617514" y="4668917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Mo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67" name="그림 6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736" y="4596519"/>
              <a:ext cx="342524" cy="342524"/>
            </a:xfrm>
            <a:prstGeom prst="rect">
              <a:avLst/>
            </a:prstGeom>
          </p:spPr>
        </p:pic>
        <p:sp>
          <p:nvSpPr>
            <p:cNvPr id="68" name="자유형 67"/>
            <p:cNvSpPr/>
            <p:nvPr/>
          </p:nvSpPr>
          <p:spPr>
            <a:xfrm rot="5400000" flipV="1">
              <a:off x="856225" y="4403651"/>
              <a:ext cx="671760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9" name="직사각형 68"/>
            <p:cNvSpPr/>
            <p:nvPr/>
          </p:nvSpPr>
          <p:spPr>
            <a:xfrm>
              <a:off x="1277736" y="4945138"/>
              <a:ext cx="2053923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Mo] </a:t>
              </a:r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로그인 화면 이동</a:t>
              </a:r>
            </a:p>
          </p:txBody>
        </p:sp>
        <p:sp>
          <p:nvSpPr>
            <p:cNvPr id="70" name="직사각형 69"/>
            <p:cNvSpPr/>
            <p:nvPr/>
          </p:nvSpPr>
          <p:spPr>
            <a:xfrm>
              <a:off x="1617514" y="5858268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PC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71" name="그림 7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736" y="5785870"/>
              <a:ext cx="342524" cy="342524"/>
            </a:xfrm>
            <a:prstGeom prst="rect">
              <a:avLst/>
            </a:prstGeom>
          </p:spPr>
        </p:pic>
        <p:sp>
          <p:nvSpPr>
            <p:cNvPr id="75" name="자유형 74"/>
            <p:cNvSpPr/>
            <p:nvPr/>
          </p:nvSpPr>
          <p:spPr>
            <a:xfrm rot="5400000" flipV="1">
              <a:off x="1033190" y="5712586"/>
              <a:ext cx="317830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6" name="직사각형 75"/>
            <p:cNvSpPr/>
            <p:nvPr/>
          </p:nvSpPr>
          <p:spPr>
            <a:xfrm>
              <a:off x="1277736" y="6136724"/>
              <a:ext cx="2053923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[PC] 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신용카드 결제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37" name="그림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9332" y="2110823"/>
              <a:ext cx="342524" cy="342524"/>
            </a:xfrm>
            <a:prstGeom prst="rect">
              <a:avLst/>
            </a:prstGeom>
          </p:spPr>
        </p:pic>
      </p:grpSp>
      <p:sp>
        <p:nvSpPr>
          <p:cNvPr id="7" name="직사각형 6"/>
          <p:cNvSpPr/>
          <p:nvPr/>
        </p:nvSpPr>
        <p:spPr>
          <a:xfrm>
            <a:off x="185051" y="1214712"/>
            <a:ext cx="2688630" cy="3786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Test Plan</a:t>
            </a:r>
            <a:endParaRPr lang="ko-KR" altLang="en-US" dirty="0"/>
          </a:p>
        </p:txBody>
      </p:sp>
      <p:grpSp>
        <p:nvGrpSpPr>
          <p:cNvPr id="49" name="그룹 48"/>
          <p:cNvGrpSpPr/>
          <p:nvPr/>
        </p:nvGrpSpPr>
        <p:grpSpPr>
          <a:xfrm>
            <a:off x="414409" y="1778322"/>
            <a:ext cx="2500655" cy="1953319"/>
            <a:chOff x="3482197" y="1898390"/>
            <a:chExt cx="2500655" cy="1953319"/>
          </a:xfrm>
        </p:grpSpPr>
        <p:sp>
          <p:nvSpPr>
            <p:cNvPr id="50" name="직사각형 49"/>
            <p:cNvSpPr/>
            <p:nvPr/>
          </p:nvSpPr>
          <p:spPr>
            <a:xfrm>
              <a:off x="4162822" y="3602723"/>
              <a:ext cx="1820030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상시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2204_1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주차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52" name="직사각형 51"/>
            <p:cNvSpPr/>
            <p:nvPr/>
          </p:nvSpPr>
          <p:spPr>
            <a:xfrm>
              <a:off x="3824721" y="1963416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상시운영점검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53" name="그림 5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2197" y="1898390"/>
              <a:ext cx="342524" cy="342524"/>
            </a:xfrm>
            <a:prstGeom prst="rect">
              <a:avLst/>
            </a:prstGeom>
          </p:spPr>
        </p:pic>
        <p:sp>
          <p:nvSpPr>
            <p:cNvPr id="54" name="직사각형 53"/>
            <p:cNvSpPr/>
            <p:nvPr/>
          </p:nvSpPr>
          <p:spPr>
            <a:xfrm>
              <a:off x="4162821" y="2618129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22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년 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4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월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55" name="그림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4721" y="2550778"/>
              <a:ext cx="342524" cy="342524"/>
            </a:xfrm>
            <a:prstGeom prst="rect">
              <a:avLst/>
            </a:prstGeom>
          </p:spPr>
        </p:pic>
        <p:sp>
          <p:nvSpPr>
            <p:cNvPr id="56" name="자유형 55"/>
            <p:cNvSpPr/>
            <p:nvPr/>
          </p:nvSpPr>
          <p:spPr>
            <a:xfrm rot="5400000" flipV="1">
              <a:off x="3478236" y="2381794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4502924" y="3271184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1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주차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58" name="그림 5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2822" y="3201339"/>
              <a:ext cx="342524" cy="342524"/>
            </a:xfrm>
            <a:prstGeom prst="rect">
              <a:avLst/>
            </a:prstGeom>
          </p:spPr>
        </p:pic>
        <p:sp>
          <p:nvSpPr>
            <p:cNvPr id="60" name="자유형 59"/>
            <p:cNvSpPr/>
            <p:nvPr/>
          </p:nvSpPr>
          <p:spPr>
            <a:xfrm rot="5400000" flipV="1">
              <a:off x="3816338" y="3034850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01" name="그룹 100"/>
          <p:cNvGrpSpPr/>
          <p:nvPr/>
        </p:nvGrpSpPr>
        <p:grpSpPr>
          <a:xfrm>
            <a:off x="3302008" y="1778322"/>
            <a:ext cx="2394349" cy="1498714"/>
            <a:chOff x="249332" y="2110823"/>
            <a:chExt cx="2394349" cy="1498714"/>
          </a:xfrm>
        </p:grpSpPr>
        <p:sp>
          <p:nvSpPr>
            <p:cNvPr id="105" name="직사각형 104"/>
            <p:cNvSpPr/>
            <p:nvPr/>
          </p:nvSpPr>
          <p:spPr>
            <a:xfrm>
              <a:off x="591856" y="2175849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상시운영점검</a:t>
              </a:r>
            </a:p>
          </p:txBody>
        </p:sp>
        <p:pic>
          <p:nvPicPr>
            <p:cNvPr id="106" name="그림 10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9332" y="2110823"/>
              <a:ext cx="342524" cy="342524"/>
            </a:xfrm>
            <a:prstGeom prst="rect">
              <a:avLst/>
            </a:prstGeom>
          </p:spPr>
        </p:pic>
        <p:sp>
          <p:nvSpPr>
            <p:cNvPr id="107" name="직사각형 106"/>
            <p:cNvSpPr/>
            <p:nvPr/>
          </p:nvSpPr>
          <p:spPr>
            <a:xfrm>
              <a:off x="929956" y="2830562"/>
              <a:ext cx="1165507" cy="2398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22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년 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4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월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pic>
          <p:nvPicPr>
            <p:cNvPr id="108" name="그림 10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856" y="2763211"/>
              <a:ext cx="342524" cy="342524"/>
            </a:xfrm>
            <a:prstGeom prst="rect">
              <a:avLst/>
            </a:prstGeom>
          </p:spPr>
        </p:pic>
        <p:sp>
          <p:nvSpPr>
            <p:cNvPr id="109" name="자유형 108"/>
            <p:cNvSpPr/>
            <p:nvPr/>
          </p:nvSpPr>
          <p:spPr>
            <a:xfrm rot="5400000" flipV="1">
              <a:off x="245371" y="2594227"/>
              <a:ext cx="521706" cy="171262"/>
            </a:xfrm>
            <a:custGeom>
              <a:avLst/>
              <a:gdLst>
                <a:gd name="connsiteX0" fmla="*/ 0 w 831850"/>
                <a:gd name="connsiteY0" fmla="*/ 0 h 876300"/>
                <a:gd name="connsiteX1" fmla="*/ 831850 w 831850"/>
                <a:gd name="connsiteY1" fmla="*/ 0 h 876300"/>
                <a:gd name="connsiteX2" fmla="*/ 831850 w 831850"/>
                <a:gd name="connsiteY2" fmla="*/ 8763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1850" h="876300">
                  <a:moveTo>
                    <a:pt x="0" y="0"/>
                  </a:moveTo>
                  <a:lnTo>
                    <a:pt x="831850" y="0"/>
                  </a:lnTo>
                  <a:lnTo>
                    <a:pt x="831850" y="876300"/>
                  </a:lnTo>
                </a:path>
              </a:pathLst>
            </a:custGeom>
            <a:noFill/>
            <a:ln w="158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1" name="직사각형 120"/>
            <p:cNvSpPr/>
            <p:nvPr/>
          </p:nvSpPr>
          <p:spPr>
            <a:xfrm>
              <a:off x="589758" y="3133373"/>
              <a:ext cx="2053923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상시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22040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22" name="직사각형 121"/>
            <p:cNvSpPr/>
            <p:nvPr/>
          </p:nvSpPr>
          <p:spPr>
            <a:xfrm>
              <a:off x="589757" y="3360551"/>
              <a:ext cx="1997520" cy="2489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상시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아모레몰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</a:t>
              </a:r>
              <a:r>
                <a:rPr lang="ko-KR" altLang="en-US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결제</a:t>
              </a:r>
              <a:r>
                <a:rPr lang="en-US" altLang="ko-KR" sz="1100" dirty="0" smtClean="0">
                  <a:solidFill>
                    <a:schemeClr val="tx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_220401</a:t>
              </a:r>
              <a:endParaRPr lang="ko-KR" altLang="en-US" sz="11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919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279" y="846138"/>
            <a:ext cx="5322269" cy="2676376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10" name="직사각형 9"/>
          <p:cNvSpPr/>
          <p:nvPr/>
        </p:nvSpPr>
        <p:spPr>
          <a:xfrm>
            <a:off x="250229" y="1465364"/>
            <a:ext cx="720166" cy="25519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235078" y="3114161"/>
            <a:ext cx="1436704" cy="29405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690474" y="1207278"/>
            <a:ext cx="3529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1355660" y="2853381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ko-KR" sz="1200" b="1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endParaRPr lang="ko-KR" altLang="en-US" sz="1200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" name="제목 1"/>
          <p:cNvSpPr>
            <a:spLocks noGrp="1"/>
          </p:cNvSpPr>
          <p:nvPr>
            <p:ph type="title"/>
          </p:nvPr>
        </p:nvSpPr>
        <p:spPr>
          <a:xfrm>
            <a:off x="185051" y="119484"/>
            <a:ext cx="6447486" cy="420688"/>
          </a:xfrm>
        </p:spPr>
        <p:txBody>
          <a:bodyPr/>
          <a:lstStyle/>
          <a:p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 Plan -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신규 폴더 생성</a:t>
            </a:r>
            <a:endParaRPr lang="ko-KR" altLang="en-US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660046" y="845159"/>
            <a:ext cx="323312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①</a:t>
            </a:r>
            <a:r>
              <a:rPr lang="ko-KR" altLang="en-US" sz="1200" dirty="0" smtClean="0">
                <a:solidFill>
                  <a:srgbClr val="19396B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Zephyr Scale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접속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[Tests] Tab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</a:t>
            </a:r>
          </a:p>
          <a:p>
            <a:pPr lvl="1" indent="-234950">
              <a:lnSpc>
                <a:spcPct val="150000"/>
              </a:lnSpc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최상위 폴더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(All test cases)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선택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후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lvl="1" indent="-244475">
              <a:lnSpc>
                <a:spcPct val="150000"/>
              </a:lnSpc>
            </a:pP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[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New Folder]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버튼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클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릭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>
              <a:lnSpc>
                <a:spcPct val="150000"/>
              </a:lnSpc>
            </a:pPr>
            <a:r>
              <a:rPr lang="ko-KR" altLang="ko-KR" sz="1200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②</a:t>
            </a:r>
            <a:r>
              <a:rPr lang="en-US" altLang="ko-KR" sz="1200" dirty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네이밍 규칙은 폴더 구조표 참고</a:t>
            </a:r>
            <a:endParaRPr lang="en-US" altLang="ko-KR" sz="12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  <a:sym typeface="아리따-돋움(OTF)-Medium"/>
            </a:endParaRPr>
          </a:p>
          <a:p>
            <a:pPr lvl="1" indent="-234950">
              <a:lnSpc>
                <a:spcPct val="150000"/>
              </a:lnSpc>
            </a:pP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아리따-돋움(OTF)-Medium"/>
              </a:rPr>
              <a:t>&gt; D</a:t>
            </a:r>
            <a:r>
              <a:rPr lang="en-US" altLang="ko-KR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rag and Drop </a:t>
            </a: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하여 해당 프로젝트 하위</a:t>
            </a:r>
            <a:endParaRPr lang="en-US" altLang="ko-KR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1" indent="-244475">
              <a:lnSpc>
                <a:spcPct val="150000"/>
              </a:lnSpc>
            </a:pPr>
            <a:r>
              <a:rPr lang="ko-KR" altLang="en-US" sz="12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폴더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생성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77969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400" dirty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7171</TotalTime>
  <Words>2144</Words>
  <Application>Microsoft Office PowerPoint</Application>
  <PresentationFormat>화면 슬라이드 쇼(4:3)</PresentationFormat>
  <Paragraphs>490</Paragraphs>
  <Slides>36</Slides>
  <Notes>13</Notes>
  <HiddenSlides>0</HiddenSlides>
  <MMClips>0</MMClips>
  <ScaleCrop>false</ScaleCrop>
  <HeadingPairs>
    <vt:vector size="6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6</vt:i4>
      </vt:variant>
    </vt:vector>
  </HeadingPairs>
  <TitlesOfParts>
    <vt:vector size="48" baseType="lpstr">
      <vt:lpstr>맑은 고딕</vt:lpstr>
      <vt:lpstr>아리따-돋움(OTF)-Medium</vt:lpstr>
      <vt:lpstr>아리따-돋움(TTF)-Bold</vt:lpstr>
      <vt:lpstr>아리따-돋움(TTF)-Medium</vt:lpstr>
      <vt:lpstr>아리따-돋움_TTF_Bold</vt:lpstr>
      <vt:lpstr>아리따-돋움_TTF_SemiBold</vt:lpstr>
      <vt:lpstr>Arial</vt:lpstr>
      <vt:lpstr>Calibri</vt:lpstr>
      <vt:lpstr>Calibri Light</vt:lpstr>
      <vt:lpstr>Cambria Math</vt:lpstr>
      <vt:lpstr>Wingdings</vt:lpstr>
      <vt:lpstr>Office 테마</vt:lpstr>
      <vt:lpstr>PowerPoint 프레젠테이션</vt:lpstr>
      <vt:lpstr>기본 구조 이해하기</vt:lpstr>
      <vt:lpstr>기본 구조 이해하기</vt:lpstr>
      <vt:lpstr>기본 구조 이해하기</vt:lpstr>
      <vt:lpstr>기본 구조 이해하기</vt:lpstr>
      <vt:lpstr>기본 구조 이해하기</vt:lpstr>
      <vt:lpstr>기본 구조 이해하기</vt:lpstr>
      <vt:lpstr>기본 구조 이해하기</vt:lpstr>
      <vt:lpstr>Test Plan - 신규 폴더 생성</vt:lpstr>
      <vt:lpstr>테스트 준비 – Test Plan 생성</vt:lpstr>
      <vt:lpstr>Test Case - 신규 폴더 생성</vt:lpstr>
      <vt:lpstr>테스트 준비 – Test Case 생성</vt:lpstr>
      <vt:lpstr>테스트 준비 – Test Case 생성 (개별 작성)</vt:lpstr>
      <vt:lpstr>테스트 준비 – Test Case 생성 (개별 작성)</vt:lpstr>
      <vt:lpstr>테스트 준비 – Test Case 생성 (개별 작성)</vt:lpstr>
      <vt:lpstr>테스트 준비 – Test Case 생성 (엑셀 업로드)</vt:lpstr>
      <vt:lpstr>테스트 준비 – Test Case 생성 (엑셀 업로드)</vt:lpstr>
      <vt:lpstr>테스트 준비 – Test Case 생성 (엑셀 업로드)</vt:lpstr>
      <vt:lpstr>테스트 준비 – Test Case 생성 (엑셀 업로드)</vt:lpstr>
      <vt:lpstr>테스트 준비 – Test Case 수정</vt:lpstr>
      <vt:lpstr>테스트 준비 – Test Case 추가</vt:lpstr>
      <vt:lpstr>테스트 준비 – Test Case 정렬</vt:lpstr>
      <vt:lpstr>테스트 준비 – Test Case 버전 관리</vt:lpstr>
      <vt:lpstr>테스트 준비 – Test Case 삭제 또는 미사용 보관</vt:lpstr>
      <vt:lpstr>Test Cycle - 신규 폴더 생성</vt:lpstr>
      <vt:lpstr>테스트 준비 – Test Cycle 생성</vt:lpstr>
      <vt:lpstr>테스트 준비 – Test Cycle 생성</vt:lpstr>
      <vt:lpstr>테스트 준비 – Test Cycle 생성</vt:lpstr>
      <vt:lpstr>테스트 준비 – Test Cycle 생성</vt:lpstr>
      <vt:lpstr>테스트 준비 – Test Cycle 생성</vt:lpstr>
      <vt:lpstr>테스트 준비 – Test Cycle 수정</vt:lpstr>
      <vt:lpstr>테스트 실행</vt:lpstr>
      <vt:lpstr>테스트 실행 - 이슈 및 결함 등록</vt:lpstr>
      <vt:lpstr>테스트 실행 - 테스트케이스 재수행</vt:lpstr>
      <vt:lpstr>테스트 실행 - 진행률 확인</vt:lpstr>
      <vt:lpstr>마무리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more</dc:creator>
  <cp:lastModifiedBy>AC929087</cp:lastModifiedBy>
  <cp:revision>1320</cp:revision>
  <cp:lastPrinted>2021-06-14T08:54:46Z</cp:lastPrinted>
  <dcterms:created xsi:type="dcterms:W3CDTF">2019-01-14T06:06:44Z</dcterms:created>
  <dcterms:modified xsi:type="dcterms:W3CDTF">2022-03-31T10:50:58Z</dcterms:modified>
</cp:coreProperties>
</file>